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mp3" ContentType="audio/mpe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1" r:id="rId5"/>
  </p:sldMasterIdLst>
  <p:notesMasterIdLst>
    <p:notesMasterId r:id="rId18"/>
  </p:notesMasterIdLst>
  <p:sldIdLst>
    <p:sldId id="5786" r:id="rId6"/>
    <p:sldId id="4749" r:id="rId7"/>
    <p:sldId id="5809" r:id="rId8"/>
    <p:sldId id="5808" r:id="rId9"/>
    <p:sldId id="4748" r:id="rId10"/>
    <p:sldId id="5818" r:id="rId11"/>
    <p:sldId id="5811" r:id="rId12"/>
    <p:sldId id="5813" r:id="rId13"/>
    <p:sldId id="5814" r:id="rId14"/>
    <p:sldId id="5816" r:id="rId15"/>
    <p:sldId id="5817" r:id="rId16"/>
    <p:sldId id="5775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wati gupta" initials="sg" lastIdx="1" clrIdx="0">
    <p:extLst>
      <p:ext uri="{19B8F6BF-5375-455C-9EA6-DF929625EA0E}">
        <p15:presenceInfo xmlns:p15="http://schemas.microsoft.com/office/powerpoint/2012/main" userId="960bfc777fdd415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C0"/>
    <a:srgbClr val="0070C0"/>
    <a:srgbClr val="4472C4"/>
    <a:srgbClr val="44CB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BEAF6D-FB1B-B633-55DC-2B230C5A430A}" v="3" vWet="10" dt="2020-05-22T05:31:23.868"/>
    <p1510:client id="{8B158D78-DD01-76EF-6016-01C90FE07ED0}" v="99" dt="2020-05-22T05:23:43.804"/>
    <p1510:client id="{A46BA286-CC4F-444C-A4E3-E626BBEABF9B}" v="403" dt="2020-05-22T05:44:09.0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73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7F5A0CB-8055-2F42-91BD-7334E84CAC0A}" type="doc">
      <dgm:prSet loTypeId="urn:microsoft.com/office/officeart/2005/8/layout/equation2" loCatId="" qsTypeId="urn:microsoft.com/office/officeart/2005/8/quickstyle/simple2" qsCatId="simple" csTypeId="urn:microsoft.com/office/officeart/2005/8/colors/accent1_1" csCatId="accent1" phldr="1"/>
      <dgm:spPr/>
    </dgm:pt>
    <dgm:pt modelId="{4AD806D1-B3C8-0C4D-BA4F-B58F286BD921}">
      <dgm:prSet phldrT="[Text]" custT="1"/>
      <dgm:spPr>
        <a:ln w="28575">
          <a:solidFill>
            <a:srgbClr val="0070C0"/>
          </a:solidFill>
        </a:ln>
      </dgm:spPr>
      <dgm:t>
        <a:bodyPr/>
        <a:lstStyle/>
        <a:p>
          <a:r>
            <a:rPr lang="en-GB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Advocacy, Multisectoral, Presence in states</a:t>
          </a:r>
        </a:p>
      </dgm:t>
    </dgm:pt>
    <dgm:pt modelId="{158A795B-79DD-F241-9F49-713AEE82848B}" type="parTrans" cxnId="{EB2DFBF7-34DB-F34C-A998-74A151FCFFD8}">
      <dgm:prSet/>
      <dgm:spPr/>
      <dgm:t>
        <a:bodyPr/>
        <a:lstStyle/>
        <a:p>
          <a:endParaRPr lang="en-GB" sz="1800">
            <a:solidFill>
              <a:schemeClr val="tx1">
                <a:lumMod val="75000"/>
                <a:lumOff val="2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9C1281-F46B-BB47-9433-BC22E3CB19B8}" type="sibTrans" cxnId="{EB2DFBF7-34DB-F34C-A998-74A151FCFFD8}">
      <dgm:prSet custT="1"/>
      <dgm:spPr/>
      <dgm:t>
        <a:bodyPr/>
        <a:lstStyle/>
        <a:p>
          <a:endParaRPr lang="en-GB" sz="1800">
            <a:solidFill>
              <a:schemeClr val="tx1">
                <a:lumMod val="75000"/>
                <a:lumOff val="2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8AB6D0C-7914-744A-AA82-4A922183ED49}">
      <dgm:prSet phldrT="[Text]" custT="1"/>
      <dgm:spPr>
        <a:ln w="28575">
          <a:solidFill>
            <a:srgbClr val="0070C0"/>
          </a:solidFill>
        </a:ln>
      </dgm:spPr>
      <dgm:t>
        <a:bodyPr/>
        <a:lstStyle/>
        <a:p>
          <a:r>
            <a:rPr lang="en-GB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Engaging and tested ECCE content</a:t>
          </a:r>
        </a:p>
      </dgm:t>
    </dgm:pt>
    <dgm:pt modelId="{C7535A9E-B2D5-174F-B59D-4699FA416A5E}" type="parTrans" cxnId="{A8A1CDCE-4C0F-BF4B-8118-3FC6B60CBDF4}">
      <dgm:prSet/>
      <dgm:spPr/>
      <dgm:t>
        <a:bodyPr/>
        <a:lstStyle/>
        <a:p>
          <a:endParaRPr lang="en-GB" sz="1800">
            <a:solidFill>
              <a:schemeClr val="tx1">
                <a:lumMod val="75000"/>
                <a:lumOff val="2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8EAC4EF-D6C0-254C-A121-2470B878970D}" type="sibTrans" cxnId="{A8A1CDCE-4C0F-BF4B-8118-3FC6B60CBDF4}">
      <dgm:prSet custT="1"/>
      <dgm:spPr/>
      <dgm:t>
        <a:bodyPr/>
        <a:lstStyle/>
        <a:p>
          <a:endParaRPr lang="en-GB" sz="1800">
            <a:solidFill>
              <a:schemeClr val="tx1">
                <a:lumMod val="75000"/>
                <a:lumOff val="2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5D92A16C-868C-B944-8F0F-AF5824E9A650}">
      <dgm:prSet phldrT="[Text]" custT="1"/>
      <dgm:spPr>
        <a:ln w="28575">
          <a:solidFill>
            <a:srgbClr val="0070C0"/>
          </a:solidFill>
        </a:ln>
      </dgm:spPr>
      <dgm:t>
        <a:bodyPr/>
        <a:lstStyle/>
        <a:p>
          <a:r>
            <a:rPr lang="en-GB" sz="20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Reaching children &amp; parents/ caregivers to facilitate independent learning at home and strengthening of parent-child bond </a:t>
          </a:r>
        </a:p>
      </dgm:t>
    </dgm:pt>
    <dgm:pt modelId="{E0727A6B-2B21-5E4E-8B5A-43851D6CF7EB}" type="parTrans" cxnId="{C52783F0-8126-044F-B7F4-B28CC7CBD62A}">
      <dgm:prSet/>
      <dgm:spPr/>
      <dgm:t>
        <a:bodyPr/>
        <a:lstStyle/>
        <a:p>
          <a:endParaRPr lang="en-GB" sz="1800">
            <a:solidFill>
              <a:schemeClr val="tx1">
                <a:lumMod val="75000"/>
                <a:lumOff val="2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53B5A9B-4A18-1443-98AA-CA8B14C64620}" type="sibTrans" cxnId="{C52783F0-8126-044F-B7F4-B28CC7CBD62A}">
      <dgm:prSet/>
      <dgm:spPr/>
      <dgm:t>
        <a:bodyPr/>
        <a:lstStyle/>
        <a:p>
          <a:endParaRPr lang="en-GB" sz="1800">
            <a:solidFill>
              <a:schemeClr val="tx1">
                <a:lumMod val="75000"/>
                <a:lumOff val="2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C39FA5C-FA87-FF4B-A6B4-888071216398}" type="pres">
      <dgm:prSet presAssocID="{A7F5A0CB-8055-2F42-91BD-7334E84CAC0A}" presName="Name0" presStyleCnt="0">
        <dgm:presLayoutVars>
          <dgm:dir/>
          <dgm:resizeHandles val="exact"/>
        </dgm:presLayoutVars>
      </dgm:prSet>
      <dgm:spPr/>
    </dgm:pt>
    <dgm:pt modelId="{B1A15022-36B0-5243-B063-3180F09E1BAA}" type="pres">
      <dgm:prSet presAssocID="{A7F5A0CB-8055-2F42-91BD-7334E84CAC0A}" presName="vNodes" presStyleCnt="0"/>
      <dgm:spPr/>
    </dgm:pt>
    <dgm:pt modelId="{A719E4E5-80C6-3049-A980-E0814C4B475E}" type="pres">
      <dgm:prSet presAssocID="{4AD806D1-B3C8-0C4D-BA4F-B58F286BD921}" presName="node" presStyleLbl="node1" presStyleIdx="0" presStyleCnt="3" custScaleX="59076" custScaleY="5573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9F8655-275A-9F4F-AA5B-3D405982FF7A}" type="pres">
      <dgm:prSet presAssocID="{4E9C1281-F46B-BB47-9433-BC22E3CB19B8}" presName="spacerT" presStyleCnt="0"/>
      <dgm:spPr/>
    </dgm:pt>
    <dgm:pt modelId="{35B177F4-DC9F-6547-8F49-D0741F7270A8}" type="pres">
      <dgm:prSet presAssocID="{4E9C1281-F46B-BB47-9433-BC22E3CB19B8}" presName="sibTrans" presStyleLbl="sibTrans2D1" presStyleIdx="0" presStyleCnt="2" custScaleX="42986" custScaleY="42986"/>
      <dgm:spPr/>
      <dgm:t>
        <a:bodyPr/>
        <a:lstStyle/>
        <a:p>
          <a:endParaRPr lang="en-US"/>
        </a:p>
      </dgm:t>
    </dgm:pt>
    <dgm:pt modelId="{77AA5376-5486-A14E-8CE6-CA32AE487D93}" type="pres">
      <dgm:prSet presAssocID="{4E9C1281-F46B-BB47-9433-BC22E3CB19B8}" presName="spacerB" presStyleCnt="0"/>
      <dgm:spPr/>
    </dgm:pt>
    <dgm:pt modelId="{6EE8F688-CE94-AB4A-A396-DF7D98806313}" type="pres">
      <dgm:prSet presAssocID="{C8AB6D0C-7914-744A-AA82-4A922183ED49}" presName="node" presStyleLbl="node1" presStyleIdx="1" presStyleCnt="3" custScaleX="57439" custScaleY="5573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5A5DE3-4D4B-CE42-88F3-C25F4A047B34}" type="pres">
      <dgm:prSet presAssocID="{A7F5A0CB-8055-2F42-91BD-7334E84CAC0A}" presName="sibTransLast" presStyleLbl="sibTrans2D1" presStyleIdx="1" presStyleCnt="2" custScaleX="69833" custScaleY="36922" custLinFactNeighborX="-18671" custLinFactNeighborY="2031"/>
      <dgm:spPr/>
      <dgm:t>
        <a:bodyPr/>
        <a:lstStyle/>
        <a:p>
          <a:endParaRPr lang="en-US"/>
        </a:p>
      </dgm:t>
    </dgm:pt>
    <dgm:pt modelId="{B60A6D2D-5FFA-6A43-A80C-DD2D68B3B36F}" type="pres">
      <dgm:prSet presAssocID="{A7F5A0CB-8055-2F42-91BD-7334E84CAC0A}" presName="connectorText" presStyleLbl="sibTrans2D1" presStyleIdx="1" presStyleCnt="2"/>
      <dgm:spPr/>
      <dgm:t>
        <a:bodyPr/>
        <a:lstStyle/>
        <a:p>
          <a:endParaRPr lang="en-US"/>
        </a:p>
      </dgm:t>
    </dgm:pt>
    <dgm:pt modelId="{FD8E6C93-509B-F44F-80F4-65BA0273F9CE}" type="pres">
      <dgm:prSet presAssocID="{A7F5A0CB-8055-2F42-91BD-7334E84CAC0A}" presName="lastNode" presStyleLbl="node1" presStyleIdx="2" presStyleCnt="3" custScaleX="48195" custScaleY="48195" custLinFactNeighborX="-203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65D6EEA-1B9F-DE44-99FD-0B507D3173BB}" type="presOf" srcId="{4AD806D1-B3C8-0C4D-BA4F-B58F286BD921}" destId="{A719E4E5-80C6-3049-A980-E0814C4B475E}" srcOrd="0" destOrd="0" presId="urn:microsoft.com/office/officeart/2005/8/layout/equation2"/>
    <dgm:cxn modelId="{BA366D81-CDEA-074C-877B-5B1F67B3FE78}" type="presOf" srcId="{28EAC4EF-D6C0-254C-A121-2470B878970D}" destId="{1E5A5DE3-4D4B-CE42-88F3-C25F4A047B34}" srcOrd="0" destOrd="0" presId="urn:microsoft.com/office/officeart/2005/8/layout/equation2"/>
    <dgm:cxn modelId="{4FF87494-6DBC-C249-9478-68EB29FA4311}" type="presOf" srcId="{5D92A16C-868C-B944-8F0F-AF5824E9A650}" destId="{FD8E6C93-509B-F44F-80F4-65BA0273F9CE}" srcOrd="0" destOrd="0" presId="urn:microsoft.com/office/officeart/2005/8/layout/equation2"/>
    <dgm:cxn modelId="{C52783F0-8126-044F-B7F4-B28CC7CBD62A}" srcId="{A7F5A0CB-8055-2F42-91BD-7334E84CAC0A}" destId="{5D92A16C-868C-B944-8F0F-AF5824E9A650}" srcOrd="2" destOrd="0" parTransId="{E0727A6B-2B21-5E4E-8B5A-43851D6CF7EB}" sibTransId="{A53B5A9B-4A18-1443-98AA-CA8B14C64620}"/>
    <dgm:cxn modelId="{8F87B82E-F78C-EB42-A423-8298E02F12B3}" type="presOf" srcId="{28EAC4EF-D6C0-254C-A121-2470B878970D}" destId="{B60A6D2D-5FFA-6A43-A80C-DD2D68B3B36F}" srcOrd="1" destOrd="0" presId="urn:microsoft.com/office/officeart/2005/8/layout/equation2"/>
    <dgm:cxn modelId="{450833AB-DCEB-764F-BB76-FBEF6FBB2681}" type="presOf" srcId="{4E9C1281-F46B-BB47-9433-BC22E3CB19B8}" destId="{35B177F4-DC9F-6547-8F49-D0741F7270A8}" srcOrd="0" destOrd="0" presId="urn:microsoft.com/office/officeart/2005/8/layout/equation2"/>
    <dgm:cxn modelId="{EB2DFBF7-34DB-F34C-A998-74A151FCFFD8}" srcId="{A7F5A0CB-8055-2F42-91BD-7334E84CAC0A}" destId="{4AD806D1-B3C8-0C4D-BA4F-B58F286BD921}" srcOrd="0" destOrd="0" parTransId="{158A795B-79DD-F241-9F49-713AEE82848B}" sibTransId="{4E9C1281-F46B-BB47-9433-BC22E3CB19B8}"/>
    <dgm:cxn modelId="{D54BE202-ED3D-4346-800A-FA9A659CF562}" type="presOf" srcId="{C8AB6D0C-7914-744A-AA82-4A922183ED49}" destId="{6EE8F688-CE94-AB4A-A396-DF7D98806313}" srcOrd="0" destOrd="0" presId="urn:microsoft.com/office/officeart/2005/8/layout/equation2"/>
    <dgm:cxn modelId="{332DD9E3-9E4F-574A-A54C-A92851136F0F}" type="presOf" srcId="{A7F5A0CB-8055-2F42-91BD-7334E84CAC0A}" destId="{2C39FA5C-FA87-FF4B-A6B4-888071216398}" srcOrd="0" destOrd="0" presId="urn:microsoft.com/office/officeart/2005/8/layout/equation2"/>
    <dgm:cxn modelId="{A8A1CDCE-4C0F-BF4B-8118-3FC6B60CBDF4}" srcId="{A7F5A0CB-8055-2F42-91BD-7334E84CAC0A}" destId="{C8AB6D0C-7914-744A-AA82-4A922183ED49}" srcOrd="1" destOrd="0" parTransId="{C7535A9E-B2D5-174F-B59D-4699FA416A5E}" sibTransId="{28EAC4EF-D6C0-254C-A121-2470B878970D}"/>
    <dgm:cxn modelId="{0EFF25B8-FC74-F543-B509-2172C034DA98}" type="presParOf" srcId="{2C39FA5C-FA87-FF4B-A6B4-888071216398}" destId="{B1A15022-36B0-5243-B063-3180F09E1BAA}" srcOrd="0" destOrd="0" presId="urn:microsoft.com/office/officeart/2005/8/layout/equation2"/>
    <dgm:cxn modelId="{F65CAC5C-1372-F444-BBF4-118580580747}" type="presParOf" srcId="{B1A15022-36B0-5243-B063-3180F09E1BAA}" destId="{A719E4E5-80C6-3049-A980-E0814C4B475E}" srcOrd="0" destOrd="0" presId="urn:microsoft.com/office/officeart/2005/8/layout/equation2"/>
    <dgm:cxn modelId="{7C884EA9-1A6C-A840-80D0-58C54597D46F}" type="presParOf" srcId="{B1A15022-36B0-5243-B063-3180F09E1BAA}" destId="{B19F8655-275A-9F4F-AA5B-3D405982FF7A}" srcOrd="1" destOrd="0" presId="urn:microsoft.com/office/officeart/2005/8/layout/equation2"/>
    <dgm:cxn modelId="{39C7D2D4-8FD9-3943-BDB1-2A5F5EAF72EE}" type="presParOf" srcId="{B1A15022-36B0-5243-B063-3180F09E1BAA}" destId="{35B177F4-DC9F-6547-8F49-D0741F7270A8}" srcOrd="2" destOrd="0" presId="urn:microsoft.com/office/officeart/2005/8/layout/equation2"/>
    <dgm:cxn modelId="{16E7896D-BDAE-1240-9487-9A94DC8604C5}" type="presParOf" srcId="{B1A15022-36B0-5243-B063-3180F09E1BAA}" destId="{77AA5376-5486-A14E-8CE6-CA32AE487D93}" srcOrd="3" destOrd="0" presId="urn:microsoft.com/office/officeart/2005/8/layout/equation2"/>
    <dgm:cxn modelId="{1A8EA3F3-E693-C045-A743-FA6764777972}" type="presParOf" srcId="{B1A15022-36B0-5243-B063-3180F09E1BAA}" destId="{6EE8F688-CE94-AB4A-A396-DF7D98806313}" srcOrd="4" destOrd="0" presId="urn:microsoft.com/office/officeart/2005/8/layout/equation2"/>
    <dgm:cxn modelId="{CE1AB528-2166-4049-A755-2A16EB65EEE7}" type="presParOf" srcId="{2C39FA5C-FA87-FF4B-A6B4-888071216398}" destId="{1E5A5DE3-4D4B-CE42-88F3-C25F4A047B34}" srcOrd="1" destOrd="0" presId="urn:microsoft.com/office/officeart/2005/8/layout/equation2"/>
    <dgm:cxn modelId="{AAD648B0-A7E1-B74A-B611-B82B91AEBB58}" type="presParOf" srcId="{1E5A5DE3-4D4B-CE42-88F3-C25F4A047B34}" destId="{B60A6D2D-5FFA-6A43-A80C-DD2D68B3B36F}" srcOrd="0" destOrd="0" presId="urn:microsoft.com/office/officeart/2005/8/layout/equation2"/>
    <dgm:cxn modelId="{22CF8DCF-7ADB-2F45-A885-2DA07303B75A}" type="presParOf" srcId="{2C39FA5C-FA87-FF4B-A6B4-888071216398}" destId="{FD8E6C93-509B-F44F-80F4-65BA0273F9CE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9939C50-D781-B744-A610-B5156A04F44B}" type="doc">
      <dgm:prSet loTypeId="urn:microsoft.com/office/officeart/2005/8/layout/matrix1" loCatId="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GB"/>
        </a:p>
      </dgm:t>
    </dgm:pt>
    <dgm:pt modelId="{D8330738-9266-DE42-8B30-E3C24442AAED}">
      <dgm:prSet phldrT="[Text]" custT="1"/>
      <dgm:spPr>
        <a:solidFill>
          <a:srgbClr val="4472C4"/>
        </a:solidFill>
      </dgm:spPr>
      <dgm:t>
        <a:bodyPr/>
        <a:lstStyle/>
        <a:p>
          <a:r>
            <a:rPr lang="en-GB" sz="1800" b="1" kern="1200">
              <a:solidFill>
                <a:schemeClr val="bg1"/>
              </a:solidFill>
              <a:latin typeface="Calibri"/>
              <a:ea typeface="+mj-ea"/>
              <a:cs typeface="+mj-cs"/>
            </a:rPr>
            <a:t>Thematic Framework</a:t>
          </a:r>
          <a:endParaRPr lang="en-GB" sz="1800" b="1" kern="1200" dirty="0">
            <a:solidFill>
              <a:schemeClr val="bg1"/>
            </a:solidFill>
            <a:latin typeface="Calibri"/>
            <a:ea typeface="+mj-ea"/>
            <a:cs typeface="+mj-cs"/>
          </a:endParaRPr>
        </a:p>
      </dgm:t>
    </dgm:pt>
    <dgm:pt modelId="{C2864AB1-1562-0544-AF08-6AC133C8D24F}" type="parTrans" cxnId="{CAFB29C3-2F29-CE4A-B401-088B2CEDEB3B}">
      <dgm:prSet/>
      <dgm:spPr/>
      <dgm:t>
        <a:bodyPr/>
        <a:lstStyle/>
        <a:p>
          <a:endParaRPr lang="en-GB"/>
        </a:p>
      </dgm:t>
    </dgm:pt>
    <dgm:pt modelId="{14629C52-910D-D447-AFCC-114F5ADBFC61}" type="sibTrans" cxnId="{CAFB29C3-2F29-CE4A-B401-088B2CEDEB3B}">
      <dgm:prSet/>
      <dgm:spPr/>
      <dgm:t>
        <a:bodyPr/>
        <a:lstStyle/>
        <a:p>
          <a:endParaRPr lang="en-GB"/>
        </a:p>
      </dgm:t>
    </dgm:pt>
    <dgm:pt modelId="{2CEEAE00-7BB4-2443-8797-18A5A454AA1B}">
      <dgm:prSet phldrT="[Text]" custT="1"/>
      <dgm:spPr/>
      <dgm:t>
        <a:bodyPr/>
        <a:lstStyle/>
        <a:p>
          <a:pPr marL="0" algn="ctr">
            <a:buNone/>
          </a:pPr>
          <a:r>
            <a:rPr lang="en-GB" sz="2000" b="1" kern="1200">
              <a:solidFill>
                <a:srgbClr val="0070C0"/>
              </a:solidFill>
              <a:latin typeface="Calibri"/>
              <a:ea typeface="+mj-ea"/>
              <a:cs typeface="+mj-cs"/>
            </a:rPr>
            <a:t>Knowledge &amp; Prevention</a:t>
          </a:r>
          <a:endParaRPr lang="en-GB" sz="2000" b="1" kern="1200" dirty="0">
            <a:solidFill>
              <a:srgbClr val="0070C0"/>
            </a:solidFill>
            <a:latin typeface="Calibri"/>
            <a:ea typeface="+mj-ea"/>
            <a:cs typeface="+mj-cs"/>
          </a:endParaRPr>
        </a:p>
      </dgm:t>
    </dgm:pt>
    <dgm:pt modelId="{F623B70E-5132-FC40-9FBC-50B1F77531CF}" type="parTrans" cxnId="{4442A940-EBA0-9845-8B4C-DB3B10C65143}">
      <dgm:prSet/>
      <dgm:spPr/>
      <dgm:t>
        <a:bodyPr/>
        <a:lstStyle/>
        <a:p>
          <a:endParaRPr lang="en-GB"/>
        </a:p>
      </dgm:t>
    </dgm:pt>
    <dgm:pt modelId="{9A4F497C-65A8-9741-9F2B-8D4C9A0A4183}" type="sibTrans" cxnId="{4442A940-EBA0-9845-8B4C-DB3B10C65143}">
      <dgm:prSet/>
      <dgm:spPr/>
      <dgm:t>
        <a:bodyPr/>
        <a:lstStyle/>
        <a:p>
          <a:endParaRPr lang="en-GB"/>
        </a:p>
      </dgm:t>
    </dgm:pt>
    <dgm:pt modelId="{71FBBD9E-CC5C-DB41-B52F-FA871B884A5E}">
      <dgm:prSet phldrT="[Text]" custT="1"/>
      <dgm:spPr/>
      <dgm:t>
        <a:bodyPr/>
        <a:lstStyle/>
        <a:p>
          <a:pPr marL="0" algn="l">
            <a:buNone/>
          </a:pPr>
          <a:r>
            <a:rPr lang="en-GB" sz="2000" b="1" kern="1200">
              <a:solidFill>
                <a:srgbClr val="0070C0"/>
              </a:solidFill>
              <a:latin typeface="Calibri"/>
              <a:ea typeface="+mj-ea"/>
              <a:cs typeface="+mj-cs"/>
            </a:rPr>
            <a:t>Social-Emotional Care &amp; Well-being</a:t>
          </a:r>
          <a:endParaRPr lang="en-GB" sz="2000" b="1" kern="1200" dirty="0">
            <a:solidFill>
              <a:srgbClr val="0070C0"/>
            </a:solidFill>
            <a:latin typeface="Calibri"/>
            <a:ea typeface="+mj-ea"/>
            <a:cs typeface="+mj-cs"/>
          </a:endParaRPr>
        </a:p>
      </dgm:t>
    </dgm:pt>
    <dgm:pt modelId="{A3978236-0E6A-EC40-A786-877D2BCB4934}" type="parTrans" cxnId="{3989603A-847F-5248-9B1A-ACAF9B6D248B}">
      <dgm:prSet/>
      <dgm:spPr/>
      <dgm:t>
        <a:bodyPr/>
        <a:lstStyle/>
        <a:p>
          <a:endParaRPr lang="en-GB"/>
        </a:p>
      </dgm:t>
    </dgm:pt>
    <dgm:pt modelId="{4FD5F8CC-CB20-6A4F-86AA-88877F5A94AC}" type="sibTrans" cxnId="{3989603A-847F-5248-9B1A-ACAF9B6D248B}">
      <dgm:prSet/>
      <dgm:spPr/>
      <dgm:t>
        <a:bodyPr/>
        <a:lstStyle/>
        <a:p>
          <a:endParaRPr lang="en-GB"/>
        </a:p>
      </dgm:t>
    </dgm:pt>
    <dgm:pt modelId="{615B5F79-C4B4-994C-8B0E-F5957C9CA26F}">
      <dgm:prSet phldrT="[Text]" custT="1"/>
      <dgm:spPr/>
      <dgm:t>
        <a:bodyPr/>
        <a:lstStyle/>
        <a:p>
          <a:pPr marL="268288" indent="0">
            <a:tabLst/>
          </a:pPr>
          <a:r>
            <a:rPr lang="en-GB" sz="2000" b="1" kern="1200">
              <a:solidFill>
                <a:srgbClr val="0070C0"/>
              </a:solidFill>
              <a:latin typeface="Calibri"/>
              <a:ea typeface="+mj-ea"/>
              <a:cs typeface="+mj-cs"/>
            </a:rPr>
            <a:t>Child Protection</a:t>
          </a:r>
        </a:p>
        <a:p>
          <a:pPr marL="268288" indent="0">
            <a:tabLst/>
          </a:pPr>
          <a:r>
            <a:rPr lang="en-GB" sz="1800" b="0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Recognize</a:t>
          </a:r>
        </a:p>
        <a:p>
          <a:pPr marL="268288" indent="0">
            <a:tabLst/>
          </a:pPr>
          <a:r>
            <a:rPr lang="en-GB" sz="1800" b="0" i="0" u="none" kern="1200">
              <a:solidFill>
                <a:schemeClr val="tx1">
                  <a:lumMod val="75000"/>
                  <a:lumOff val="25000"/>
                </a:schemeClr>
              </a:solidFill>
              <a:latin typeface="Calibri"/>
              <a:ea typeface="+mj-ea"/>
              <a:cs typeface="+mj-cs"/>
            </a:rPr>
            <a:t>React</a:t>
          </a:r>
        </a:p>
        <a:p>
          <a:pPr marL="268288" indent="0">
            <a:tabLst/>
          </a:pPr>
          <a:r>
            <a:rPr lang="en-GB" sz="1800" b="0" i="0" u="none" kern="1200">
              <a:solidFill>
                <a:schemeClr val="tx1">
                  <a:lumMod val="75000"/>
                  <a:lumOff val="25000"/>
                </a:schemeClr>
              </a:solidFill>
              <a:latin typeface="Calibri"/>
              <a:ea typeface="+mj-ea"/>
              <a:cs typeface="+mj-cs"/>
            </a:rPr>
            <a:t>Reduce</a:t>
          </a:r>
          <a:endParaRPr lang="en-GB" sz="1800" b="1" kern="1200" dirty="0">
            <a:solidFill>
              <a:srgbClr val="0070C0"/>
            </a:solidFill>
            <a:latin typeface="Calibri"/>
            <a:ea typeface="+mj-ea"/>
            <a:cs typeface="+mj-cs"/>
          </a:endParaRPr>
        </a:p>
      </dgm:t>
    </dgm:pt>
    <dgm:pt modelId="{BBB12D2A-B4C8-E544-B71F-7F2EBE991EC4}" type="parTrans" cxnId="{B6396E5E-BB34-6342-896E-ED23F77CFAEE}">
      <dgm:prSet/>
      <dgm:spPr/>
      <dgm:t>
        <a:bodyPr/>
        <a:lstStyle/>
        <a:p>
          <a:endParaRPr lang="en-GB"/>
        </a:p>
      </dgm:t>
    </dgm:pt>
    <dgm:pt modelId="{A37B4494-3480-1641-B821-9586F226609D}" type="sibTrans" cxnId="{B6396E5E-BB34-6342-896E-ED23F77CFAEE}">
      <dgm:prSet/>
      <dgm:spPr/>
      <dgm:t>
        <a:bodyPr/>
        <a:lstStyle/>
        <a:p>
          <a:endParaRPr lang="en-GB"/>
        </a:p>
      </dgm:t>
    </dgm:pt>
    <dgm:pt modelId="{95FB1084-E7E8-EB4B-B967-A267254637FA}">
      <dgm:prSet phldrT="[Text]" custT="1"/>
      <dgm:spPr/>
      <dgm:t>
        <a:bodyPr/>
        <a:lstStyle/>
        <a:p>
          <a:r>
            <a:rPr lang="en-GB" sz="2000" b="1" kern="1200">
              <a:solidFill>
                <a:srgbClr val="0070C0"/>
              </a:solidFill>
              <a:latin typeface="Calibri"/>
              <a:ea typeface="+mj-ea"/>
              <a:cs typeface="+mj-cs"/>
            </a:rPr>
            <a:t>Continued Education</a:t>
          </a:r>
        </a:p>
        <a:p>
          <a:r>
            <a:rPr lang="en-GB" sz="1800" kern="1200">
              <a:solidFill>
                <a:schemeClr val="tx1">
                  <a:lumMod val="75000"/>
                  <a:lumOff val="25000"/>
                </a:schemeClr>
              </a:solidFill>
            </a:rPr>
            <a:t>Health &amp; Wellbeing, Cognition, Science &amp; Nature, Art &amp; Creativity, Math, Language &amp; Literacy</a:t>
          </a:r>
          <a:endParaRPr lang="en-GB" sz="1800" b="1" kern="1200" dirty="0">
            <a:solidFill>
              <a:schemeClr val="tx1">
                <a:lumMod val="75000"/>
                <a:lumOff val="25000"/>
              </a:schemeClr>
            </a:solidFill>
            <a:latin typeface="Calibri"/>
            <a:ea typeface="+mj-ea"/>
            <a:cs typeface="+mj-cs"/>
          </a:endParaRPr>
        </a:p>
      </dgm:t>
    </dgm:pt>
    <dgm:pt modelId="{795B6ED1-C91F-434C-8B45-92B21DCF1585}" type="parTrans" cxnId="{0FE989F0-C849-0745-98F0-D74BCC7D2694}">
      <dgm:prSet/>
      <dgm:spPr/>
      <dgm:t>
        <a:bodyPr/>
        <a:lstStyle/>
        <a:p>
          <a:endParaRPr lang="en-GB"/>
        </a:p>
      </dgm:t>
    </dgm:pt>
    <dgm:pt modelId="{0A6D20C9-E570-524D-A473-C8BEA9F3BAE6}" type="sibTrans" cxnId="{0FE989F0-C849-0745-98F0-D74BCC7D2694}">
      <dgm:prSet/>
      <dgm:spPr/>
      <dgm:t>
        <a:bodyPr/>
        <a:lstStyle/>
        <a:p>
          <a:endParaRPr lang="en-GB"/>
        </a:p>
      </dgm:t>
    </dgm:pt>
    <dgm:pt modelId="{7C6A8778-20AF-FB4D-AAFD-4CF4AEC8A35E}">
      <dgm:prSet phldrT="[Text]" custT="1"/>
      <dgm:spPr/>
      <dgm:t>
        <a:bodyPr/>
        <a:lstStyle/>
        <a:p>
          <a:pPr marL="268288" indent="0" algn="l">
            <a:buNone/>
            <a:tabLst/>
          </a:pPr>
          <a:r>
            <a:rPr lang="en-GB" sz="1800" b="0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Information on COVID-19​</a:t>
          </a:r>
          <a:endParaRPr lang="en-GB" sz="1800" b="1" kern="1200" dirty="0">
            <a:solidFill>
              <a:schemeClr val="tx1">
                <a:lumMod val="75000"/>
                <a:lumOff val="25000"/>
              </a:schemeClr>
            </a:solidFill>
            <a:latin typeface="Calibri"/>
            <a:ea typeface="+mj-ea"/>
            <a:cs typeface="+mj-cs"/>
          </a:endParaRPr>
        </a:p>
      </dgm:t>
    </dgm:pt>
    <dgm:pt modelId="{17368763-DF02-074B-B576-751BC2D2D592}" type="parTrans" cxnId="{FE0E4C26-0045-2844-A25F-720A9BA20DE3}">
      <dgm:prSet/>
      <dgm:spPr/>
      <dgm:t>
        <a:bodyPr/>
        <a:lstStyle/>
        <a:p>
          <a:endParaRPr lang="en-GB"/>
        </a:p>
      </dgm:t>
    </dgm:pt>
    <dgm:pt modelId="{C76C0960-D0AC-1248-903E-159D5DEA883C}" type="sibTrans" cxnId="{FE0E4C26-0045-2844-A25F-720A9BA20DE3}">
      <dgm:prSet/>
      <dgm:spPr/>
      <dgm:t>
        <a:bodyPr/>
        <a:lstStyle/>
        <a:p>
          <a:endParaRPr lang="en-GB"/>
        </a:p>
      </dgm:t>
    </dgm:pt>
    <dgm:pt modelId="{04FBD02D-A3CB-5944-8047-B0C0ACA9EE76}">
      <dgm:prSet phldrT="[Text]" custT="1"/>
      <dgm:spPr/>
      <dgm:t>
        <a:bodyPr/>
        <a:lstStyle/>
        <a:p>
          <a:pPr marL="268288" indent="0" algn="l">
            <a:buNone/>
            <a:tabLst/>
          </a:pPr>
          <a:r>
            <a:rPr lang="en-GB" sz="1800" b="0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Handwashing</a:t>
          </a:r>
          <a:r>
            <a:rPr lang="en-US" sz="1800" b="0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​</a:t>
          </a:r>
          <a:endParaRPr lang="en-GB" sz="1800" b="1" kern="1200" dirty="0">
            <a:solidFill>
              <a:schemeClr val="tx1">
                <a:lumMod val="75000"/>
                <a:lumOff val="25000"/>
              </a:schemeClr>
            </a:solidFill>
            <a:latin typeface="Calibri"/>
            <a:ea typeface="+mj-ea"/>
            <a:cs typeface="+mj-cs"/>
          </a:endParaRPr>
        </a:p>
      </dgm:t>
    </dgm:pt>
    <dgm:pt modelId="{FAB80118-B9FE-8449-BEA9-9E0698ED8EA8}" type="parTrans" cxnId="{BA10ABE1-8D4F-7B4E-83D5-D2A152D3227B}">
      <dgm:prSet/>
      <dgm:spPr/>
      <dgm:t>
        <a:bodyPr/>
        <a:lstStyle/>
        <a:p>
          <a:endParaRPr lang="en-GB"/>
        </a:p>
      </dgm:t>
    </dgm:pt>
    <dgm:pt modelId="{1401F8F8-3FD4-C04A-84DA-B51FB7E6ECFB}" type="sibTrans" cxnId="{BA10ABE1-8D4F-7B4E-83D5-D2A152D3227B}">
      <dgm:prSet/>
      <dgm:spPr/>
      <dgm:t>
        <a:bodyPr/>
        <a:lstStyle/>
        <a:p>
          <a:endParaRPr lang="en-GB"/>
        </a:p>
      </dgm:t>
    </dgm:pt>
    <dgm:pt modelId="{ED53335A-B102-1740-918A-3CAC73434890}">
      <dgm:prSet phldrT="[Text]" custT="1"/>
      <dgm:spPr/>
      <dgm:t>
        <a:bodyPr/>
        <a:lstStyle/>
        <a:p>
          <a:pPr marL="268288" indent="0" algn="l">
            <a:buNone/>
            <a:tabLst/>
          </a:pPr>
          <a:r>
            <a:rPr lang="en-GB" sz="1800" b="0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Sneezing &amp; coughing etiquette</a:t>
          </a:r>
          <a:r>
            <a:rPr lang="en-US" sz="1800" b="0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​</a:t>
          </a:r>
          <a:endParaRPr lang="en-GB" sz="1800" b="1" kern="1200" dirty="0">
            <a:solidFill>
              <a:schemeClr val="tx1">
                <a:lumMod val="75000"/>
                <a:lumOff val="25000"/>
              </a:schemeClr>
            </a:solidFill>
            <a:latin typeface="Calibri"/>
            <a:ea typeface="+mj-ea"/>
            <a:cs typeface="+mj-cs"/>
          </a:endParaRPr>
        </a:p>
      </dgm:t>
    </dgm:pt>
    <dgm:pt modelId="{8F60B033-685E-DB46-99A7-FE621148F28F}" type="parTrans" cxnId="{4A90AEB4-5F72-1741-B507-4FB82E694EC7}">
      <dgm:prSet/>
      <dgm:spPr/>
      <dgm:t>
        <a:bodyPr/>
        <a:lstStyle/>
        <a:p>
          <a:endParaRPr lang="en-GB"/>
        </a:p>
      </dgm:t>
    </dgm:pt>
    <dgm:pt modelId="{A6AB8DDE-E104-0D45-8E3B-E71D1A90E62B}" type="sibTrans" cxnId="{4A90AEB4-5F72-1741-B507-4FB82E694EC7}">
      <dgm:prSet/>
      <dgm:spPr/>
      <dgm:t>
        <a:bodyPr/>
        <a:lstStyle/>
        <a:p>
          <a:endParaRPr lang="en-GB"/>
        </a:p>
      </dgm:t>
    </dgm:pt>
    <dgm:pt modelId="{E1A9EE78-84A1-1242-98D3-6C8D7BC76DF6}">
      <dgm:prSet phldrT="[Text]" custT="1"/>
      <dgm:spPr/>
      <dgm:t>
        <a:bodyPr/>
        <a:lstStyle/>
        <a:p>
          <a:pPr marL="268288" indent="0" algn="l">
            <a:buNone/>
            <a:tabLst/>
          </a:pPr>
          <a:r>
            <a:rPr lang="en-GB" sz="1800" b="0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Social Distancing</a:t>
          </a:r>
          <a:r>
            <a:rPr lang="en-US" sz="1800" b="0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​</a:t>
          </a:r>
          <a:endParaRPr lang="en-GB" sz="2000" b="1" kern="1200" dirty="0">
            <a:solidFill>
              <a:schemeClr val="tx1">
                <a:lumMod val="75000"/>
                <a:lumOff val="25000"/>
              </a:schemeClr>
            </a:solidFill>
            <a:latin typeface="Calibri"/>
            <a:ea typeface="+mj-ea"/>
            <a:cs typeface="+mj-cs"/>
          </a:endParaRPr>
        </a:p>
      </dgm:t>
    </dgm:pt>
    <dgm:pt modelId="{7CB1431D-3712-9847-92EE-A0301FE748A5}" type="parTrans" cxnId="{CF424079-561E-3B44-BB57-9D9EFA6B925D}">
      <dgm:prSet/>
      <dgm:spPr/>
      <dgm:t>
        <a:bodyPr/>
        <a:lstStyle/>
        <a:p>
          <a:endParaRPr lang="en-GB"/>
        </a:p>
      </dgm:t>
    </dgm:pt>
    <dgm:pt modelId="{56B7E883-FFA3-1049-B2BB-8C0DF6843E89}" type="sibTrans" cxnId="{CF424079-561E-3B44-BB57-9D9EFA6B925D}">
      <dgm:prSet/>
      <dgm:spPr/>
      <dgm:t>
        <a:bodyPr/>
        <a:lstStyle/>
        <a:p>
          <a:endParaRPr lang="en-GB"/>
        </a:p>
      </dgm:t>
    </dgm:pt>
    <dgm:pt modelId="{DC31CA2D-7F6A-2543-9892-A70C3D65D4EB}">
      <dgm:prSet phldrT="[Text]" custT="1"/>
      <dgm:spPr/>
      <dgm:t>
        <a:bodyPr/>
        <a:lstStyle/>
        <a:p>
          <a:pPr marL="1025525" indent="0" algn="l">
            <a:buNone/>
            <a:tabLst/>
          </a:pPr>
          <a:r>
            <a:rPr lang="en-GB" sz="1800" b="0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Reassurance</a:t>
          </a:r>
          <a:endParaRPr lang="en-GB" sz="1800" b="1" kern="1200" dirty="0">
            <a:solidFill>
              <a:srgbClr val="0070C0"/>
            </a:solidFill>
            <a:latin typeface="Calibri"/>
            <a:ea typeface="+mj-ea"/>
            <a:cs typeface="+mj-cs"/>
          </a:endParaRPr>
        </a:p>
      </dgm:t>
    </dgm:pt>
    <dgm:pt modelId="{DA6237E2-B266-6249-B31A-F0418F3E2F25}" type="parTrans" cxnId="{0BF1869F-2E16-6F4C-8AAC-D5A5EE12D205}">
      <dgm:prSet/>
      <dgm:spPr/>
      <dgm:t>
        <a:bodyPr/>
        <a:lstStyle/>
        <a:p>
          <a:endParaRPr lang="en-GB"/>
        </a:p>
      </dgm:t>
    </dgm:pt>
    <dgm:pt modelId="{4E7BC6B7-1685-884C-AB09-3E522E2DC017}" type="sibTrans" cxnId="{0BF1869F-2E16-6F4C-8AAC-D5A5EE12D205}">
      <dgm:prSet/>
      <dgm:spPr/>
      <dgm:t>
        <a:bodyPr/>
        <a:lstStyle/>
        <a:p>
          <a:endParaRPr lang="en-GB"/>
        </a:p>
      </dgm:t>
    </dgm:pt>
    <dgm:pt modelId="{465062B2-6BF3-7F47-8B4F-04BEB2055815}">
      <dgm:prSet phldrT="[Text]" custT="1"/>
      <dgm:spPr/>
      <dgm:t>
        <a:bodyPr/>
        <a:lstStyle/>
        <a:p>
          <a:pPr marL="1025525" indent="0" algn="l">
            <a:buNone/>
            <a:tabLst/>
          </a:pPr>
          <a:r>
            <a:rPr lang="en-GB" sz="1800" b="0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Regulation</a:t>
          </a:r>
          <a:endParaRPr lang="en-GB" sz="1800" b="1" kern="1200" dirty="0">
            <a:solidFill>
              <a:srgbClr val="0070C0"/>
            </a:solidFill>
            <a:latin typeface="Calibri"/>
            <a:ea typeface="+mj-ea"/>
            <a:cs typeface="+mj-cs"/>
          </a:endParaRPr>
        </a:p>
      </dgm:t>
    </dgm:pt>
    <dgm:pt modelId="{2E23F319-ECC9-F740-A0A9-62DB131B6B30}" type="parTrans" cxnId="{081C6BCE-F51B-1941-9B5D-42468C591E9F}">
      <dgm:prSet/>
      <dgm:spPr/>
      <dgm:t>
        <a:bodyPr/>
        <a:lstStyle/>
        <a:p>
          <a:endParaRPr lang="en-GB"/>
        </a:p>
      </dgm:t>
    </dgm:pt>
    <dgm:pt modelId="{1F682190-5A68-0847-AC0A-82060879AE06}" type="sibTrans" cxnId="{081C6BCE-F51B-1941-9B5D-42468C591E9F}">
      <dgm:prSet/>
      <dgm:spPr/>
      <dgm:t>
        <a:bodyPr/>
        <a:lstStyle/>
        <a:p>
          <a:endParaRPr lang="en-GB"/>
        </a:p>
      </dgm:t>
    </dgm:pt>
    <dgm:pt modelId="{EAF74160-A89C-B047-84F7-128FE50D9D8C}">
      <dgm:prSet phldrT="[Text]" custT="1"/>
      <dgm:spPr/>
      <dgm:t>
        <a:bodyPr/>
        <a:lstStyle/>
        <a:p>
          <a:pPr marL="1025525" indent="0" algn="l">
            <a:buNone/>
            <a:tabLst/>
          </a:pPr>
          <a:r>
            <a:rPr lang="en-GB" sz="1800" b="0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Routine</a:t>
          </a:r>
          <a:endParaRPr lang="en-GB" sz="1800" b="1" kern="1200" dirty="0">
            <a:solidFill>
              <a:srgbClr val="0070C0"/>
            </a:solidFill>
            <a:latin typeface="Calibri"/>
            <a:ea typeface="+mj-ea"/>
            <a:cs typeface="+mj-cs"/>
          </a:endParaRPr>
        </a:p>
      </dgm:t>
    </dgm:pt>
    <dgm:pt modelId="{1A1EA9F3-E44E-FE43-8E1F-7DA6392F96B4}" type="parTrans" cxnId="{0BAEEBBA-CE64-6544-BC53-CAAC99B27222}">
      <dgm:prSet/>
      <dgm:spPr/>
      <dgm:t>
        <a:bodyPr/>
        <a:lstStyle/>
        <a:p>
          <a:endParaRPr lang="en-GB"/>
        </a:p>
      </dgm:t>
    </dgm:pt>
    <dgm:pt modelId="{66A8EEF8-DC0B-9540-A405-C1B9C1F988DF}" type="sibTrans" cxnId="{0BAEEBBA-CE64-6544-BC53-CAAC99B27222}">
      <dgm:prSet/>
      <dgm:spPr/>
      <dgm:t>
        <a:bodyPr/>
        <a:lstStyle/>
        <a:p>
          <a:endParaRPr lang="en-GB"/>
        </a:p>
      </dgm:t>
    </dgm:pt>
    <dgm:pt modelId="{3873FDB8-17BB-2C45-82B8-C8CE9D51B08C}">
      <dgm:prSet phldrT="[Text]" custT="1"/>
      <dgm:spPr/>
      <dgm:t>
        <a:bodyPr/>
        <a:lstStyle/>
        <a:p>
          <a:pPr marL="1025525" indent="0" algn="l">
            <a:buNone/>
            <a:tabLst/>
          </a:pPr>
          <a:r>
            <a:rPr lang="en-GB" sz="1800" b="0" i="0" u="none" kern="1200">
              <a:solidFill>
                <a:schemeClr val="tx1">
                  <a:lumMod val="75000"/>
                  <a:lumOff val="25000"/>
                </a:schemeClr>
              </a:solidFill>
            </a:rPr>
            <a:t>Resilience</a:t>
          </a:r>
          <a:endParaRPr lang="en-GB" sz="1800" b="1" kern="1200" dirty="0">
            <a:solidFill>
              <a:srgbClr val="0070C0"/>
            </a:solidFill>
            <a:latin typeface="Calibri"/>
            <a:ea typeface="+mj-ea"/>
            <a:cs typeface="+mj-cs"/>
          </a:endParaRPr>
        </a:p>
      </dgm:t>
    </dgm:pt>
    <dgm:pt modelId="{D3F95416-0D30-CC43-86DC-A536629075EA}" type="parTrans" cxnId="{30EB4576-0657-4E4A-8582-910AA6E0B1D1}">
      <dgm:prSet/>
      <dgm:spPr/>
      <dgm:t>
        <a:bodyPr/>
        <a:lstStyle/>
        <a:p>
          <a:endParaRPr lang="en-GB"/>
        </a:p>
      </dgm:t>
    </dgm:pt>
    <dgm:pt modelId="{206A83A3-9786-A84F-83DA-33BE96F3753F}" type="sibTrans" cxnId="{30EB4576-0657-4E4A-8582-910AA6E0B1D1}">
      <dgm:prSet/>
      <dgm:spPr/>
      <dgm:t>
        <a:bodyPr/>
        <a:lstStyle/>
        <a:p>
          <a:endParaRPr lang="en-GB"/>
        </a:p>
      </dgm:t>
    </dgm:pt>
    <dgm:pt modelId="{7D4743C1-2768-A14A-86C7-B5AB841CAAFD}" type="pres">
      <dgm:prSet presAssocID="{49939C50-D781-B744-A610-B5156A04F44B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D9FD8A1-8263-E24A-9A56-A3A1E99BDCC5}" type="pres">
      <dgm:prSet presAssocID="{49939C50-D781-B744-A610-B5156A04F44B}" presName="matrix" presStyleCnt="0"/>
      <dgm:spPr/>
    </dgm:pt>
    <dgm:pt modelId="{84F6BEF7-3CC4-6D46-BC2A-D8E41A6F356D}" type="pres">
      <dgm:prSet presAssocID="{49939C50-D781-B744-A610-B5156A04F44B}" presName="tile1" presStyleLbl="node1" presStyleIdx="0" presStyleCnt="4"/>
      <dgm:spPr/>
      <dgm:t>
        <a:bodyPr/>
        <a:lstStyle/>
        <a:p>
          <a:endParaRPr lang="en-US"/>
        </a:p>
      </dgm:t>
    </dgm:pt>
    <dgm:pt modelId="{6E9B2660-567F-0E4C-8970-3FA300BB459A}" type="pres">
      <dgm:prSet presAssocID="{49939C50-D781-B744-A610-B5156A04F44B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515BA7-EF59-164C-99D8-4BC729F88D2F}" type="pres">
      <dgm:prSet presAssocID="{49939C50-D781-B744-A610-B5156A04F44B}" presName="tile2" presStyleLbl="node1" presStyleIdx="1" presStyleCnt="4"/>
      <dgm:spPr/>
      <dgm:t>
        <a:bodyPr/>
        <a:lstStyle/>
        <a:p>
          <a:endParaRPr lang="en-US"/>
        </a:p>
      </dgm:t>
    </dgm:pt>
    <dgm:pt modelId="{A4018B97-CBE7-B14A-8124-E415E1D491B9}" type="pres">
      <dgm:prSet presAssocID="{49939C50-D781-B744-A610-B5156A04F44B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3F9C7C-4089-FD4F-BA4A-FF82D5584E34}" type="pres">
      <dgm:prSet presAssocID="{49939C50-D781-B744-A610-B5156A04F44B}" presName="tile3" presStyleLbl="node1" presStyleIdx="2" presStyleCnt="4"/>
      <dgm:spPr/>
      <dgm:t>
        <a:bodyPr/>
        <a:lstStyle/>
        <a:p>
          <a:endParaRPr lang="en-US"/>
        </a:p>
      </dgm:t>
    </dgm:pt>
    <dgm:pt modelId="{623EBA95-1ACB-DC41-AEC0-DE10D6528377}" type="pres">
      <dgm:prSet presAssocID="{49939C50-D781-B744-A610-B5156A04F44B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920977-36D3-954D-82D7-25201779FAFF}" type="pres">
      <dgm:prSet presAssocID="{49939C50-D781-B744-A610-B5156A04F44B}" presName="tile4" presStyleLbl="node1" presStyleIdx="3" presStyleCnt="4"/>
      <dgm:spPr/>
      <dgm:t>
        <a:bodyPr/>
        <a:lstStyle/>
        <a:p>
          <a:endParaRPr lang="en-US"/>
        </a:p>
      </dgm:t>
    </dgm:pt>
    <dgm:pt modelId="{B7C63646-281B-904E-A5AF-4641D43BDC91}" type="pres">
      <dgm:prSet presAssocID="{49939C50-D781-B744-A610-B5156A04F44B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761FAAE-83B7-0D4C-A45E-47736BD5CCB3}" type="pres">
      <dgm:prSet presAssocID="{49939C50-D781-B744-A610-B5156A04F44B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4442A940-EBA0-9845-8B4C-DB3B10C65143}" srcId="{D8330738-9266-DE42-8B30-E3C24442AAED}" destId="{2CEEAE00-7BB4-2443-8797-18A5A454AA1B}" srcOrd="0" destOrd="0" parTransId="{F623B70E-5132-FC40-9FBC-50B1F77531CF}" sibTransId="{9A4F497C-65A8-9741-9F2B-8D4C9A0A4183}"/>
    <dgm:cxn modelId="{4A90AEB4-5F72-1741-B507-4FB82E694EC7}" srcId="{2CEEAE00-7BB4-2443-8797-18A5A454AA1B}" destId="{ED53335A-B102-1740-918A-3CAC73434890}" srcOrd="2" destOrd="0" parTransId="{8F60B033-685E-DB46-99A7-FE621148F28F}" sibTransId="{A6AB8DDE-E104-0D45-8E3B-E71D1A90E62B}"/>
    <dgm:cxn modelId="{4FC743CB-B367-4C23-B664-F09AA433F269}" type="presOf" srcId="{615B5F79-C4B4-994C-8B0E-F5957C9CA26F}" destId="{623EBA95-1ACB-DC41-AEC0-DE10D6528377}" srcOrd="1" destOrd="0" presId="urn:microsoft.com/office/officeart/2005/8/layout/matrix1"/>
    <dgm:cxn modelId="{0BAEEBBA-CE64-6544-BC53-CAAC99B27222}" srcId="{71FBBD9E-CC5C-DB41-B52F-FA871B884A5E}" destId="{EAF74160-A89C-B047-84F7-128FE50D9D8C}" srcOrd="2" destOrd="0" parTransId="{1A1EA9F3-E44E-FE43-8E1F-7DA6392F96B4}" sibTransId="{66A8EEF8-DC0B-9540-A405-C1B9C1F988DF}"/>
    <dgm:cxn modelId="{0BF439B6-4EC8-4431-8E64-83F1E2142DBB}" type="presOf" srcId="{3873FDB8-17BB-2C45-82B8-C8CE9D51B08C}" destId="{05515BA7-EF59-164C-99D8-4BC729F88D2F}" srcOrd="0" destOrd="4" presId="urn:microsoft.com/office/officeart/2005/8/layout/matrix1"/>
    <dgm:cxn modelId="{0FE989F0-C849-0745-98F0-D74BCC7D2694}" srcId="{D8330738-9266-DE42-8B30-E3C24442AAED}" destId="{95FB1084-E7E8-EB4B-B967-A267254637FA}" srcOrd="3" destOrd="0" parTransId="{795B6ED1-C91F-434C-8B45-92B21DCF1585}" sibTransId="{0A6D20C9-E570-524D-A473-C8BEA9F3BAE6}"/>
    <dgm:cxn modelId="{A5DE9ADD-9C29-4449-96ED-29DB0D8D5BFA}" type="presOf" srcId="{EAF74160-A89C-B047-84F7-128FE50D9D8C}" destId="{05515BA7-EF59-164C-99D8-4BC729F88D2F}" srcOrd="0" destOrd="3" presId="urn:microsoft.com/office/officeart/2005/8/layout/matrix1"/>
    <dgm:cxn modelId="{D67473B1-F38C-4092-8169-54338AC36643}" type="presOf" srcId="{EAF74160-A89C-B047-84F7-128FE50D9D8C}" destId="{A4018B97-CBE7-B14A-8124-E415E1D491B9}" srcOrd="1" destOrd="3" presId="urn:microsoft.com/office/officeart/2005/8/layout/matrix1"/>
    <dgm:cxn modelId="{CD67C96D-08EB-4D17-B6B6-6B7C71F1E119}" type="presOf" srcId="{04FBD02D-A3CB-5944-8047-B0C0ACA9EE76}" destId="{6E9B2660-567F-0E4C-8970-3FA300BB459A}" srcOrd="1" destOrd="2" presId="urn:microsoft.com/office/officeart/2005/8/layout/matrix1"/>
    <dgm:cxn modelId="{AA89680F-C942-435A-9A66-49C74732FCEC}" type="presOf" srcId="{E1A9EE78-84A1-1242-98D3-6C8D7BC76DF6}" destId="{84F6BEF7-3CC4-6D46-BC2A-D8E41A6F356D}" srcOrd="0" destOrd="4" presId="urn:microsoft.com/office/officeart/2005/8/layout/matrix1"/>
    <dgm:cxn modelId="{7C41823F-DE3A-4EC4-B30E-826F02446FC8}" type="presOf" srcId="{DC31CA2D-7F6A-2543-9892-A70C3D65D4EB}" destId="{05515BA7-EF59-164C-99D8-4BC729F88D2F}" srcOrd="0" destOrd="1" presId="urn:microsoft.com/office/officeart/2005/8/layout/matrix1"/>
    <dgm:cxn modelId="{C08F743F-CED1-45AD-B399-B455C8FD5381}" type="presOf" srcId="{2CEEAE00-7BB4-2443-8797-18A5A454AA1B}" destId="{6E9B2660-567F-0E4C-8970-3FA300BB459A}" srcOrd="1" destOrd="0" presId="urn:microsoft.com/office/officeart/2005/8/layout/matrix1"/>
    <dgm:cxn modelId="{BA10ABE1-8D4F-7B4E-83D5-D2A152D3227B}" srcId="{2CEEAE00-7BB4-2443-8797-18A5A454AA1B}" destId="{04FBD02D-A3CB-5944-8047-B0C0ACA9EE76}" srcOrd="1" destOrd="0" parTransId="{FAB80118-B9FE-8449-BEA9-9E0698ED8EA8}" sibTransId="{1401F8F8-3FD4-C04A-84DA-B51FB7E6ECFB}"/>
    <dgm:cxn modelId="{7072492A-12BA-4474-8367-91B0FBDC2444}" type="presOf" srcId="{E1A9EE78-84A1-1242-98D3-6C8D7BC76DF6}" destId="{6E9B2660-567F-0E4C-8970-3FA300BB459A}" srcOrd="1" destOrd="4" presId="urn:microsoft.com/office/officeart/2005/8/layout/matrix1"/>
    <dgm:cxn modelId="{9F409FD7-65E6-4C3C-8564-B9904281FCC6}" type="presOf" srcId="{71FBBD9E-CC5C-DB41-B52F-FA871B884A5E}" destId="{A4018B97-CBE7-B14A-8124-E415E1D491B9}" srcOrd="1" destOrd="0" presId="urn:microsoft.com/office/officeart/2005/8/layout/matrix1"/>
    <dgm:cxn modelId="{943967B2-DEF8-4382-BBCD-C772A3797589}" type="presOf" srcId="{DC31CA2D-7F6A-2543-9892-A70C3D65D4EB}" destId="{A4018B97-CBE7-B14A-8124-E415E1D491B9}" srcOrd="1" destOrd="1" presId="urn:microsoft.com/office/officeart/2005/8/layout/matrix1"/>
    <dgm:cxn modelId="{C65C02C3-2509-4045-A6C8-FAF00F3D2AD8}" type="presOf" srcId="{2CEEAE00-7BB4-2443-8797-18A5A454AA1B}" destId="{84F6BEF7-3CC4-6D46-BC2A-D8E41A6F356D}" srcOrd="0" destOrd="0" presId="urn:microsoft.com/office/officeart/2005/8/layout/matrix1"/>
    <dgm:cxn modelId="{9474FE69-2062-4032-A8BF-5855B30E75C8}" type="presOf" srcId="{465062B2-6BF3-7F47-8B4F-04BEB2055815}" destId="{05515BA7-EF59-164C-99D8-4BC729F88D2F}" srcOrd="0" destOrd="2" presId="urn:microsoft.com/office/officeart/2005/8/layout/matrix1"/>
    <dgm:cxn modelId="{198C23CA-1ACF-49F0-81BF-D80C46083800}" type="presOf" srcId="{95FB1084-E7E8-EB4B-B967-A267254637FA}" destId="{B7C63646-281B-904E-A5AF-4641D43BDC91}" srcOrd="1" destOrd="0" presId="urn:microsoft.com/office/officeart/2005/8/layout/matrix1"/>
    <dgm:cxn modelId="{6EF71EE5-062E-44F4-8EAF-B7BBCFF845DA}" type="presOf" srcId="{04FBD02D-A3CB-5944-8047-B0C0ACA9EE76}" destId="{84F6BEF7-3CC4-6D46-BC2A-D8E41A6F356D}" srcOrd="0" destOrd="2" presId="urn:microsoft.com/office/officeart/2005/8/layout/matrix1"/>
    <dgm:cxn modelId="{9B23C174-3046-488A-9184-1676A9F5C8D7}" type="presOf" srcId="{ED53335A-B102-1740-918A-3CAC73434890}" destId="{84F6BEF7-3CC4-6D46-BC2A-D8E41A6F356D}" srcOrd="0" destOrd="3" presId="urn:microsoft.com/office/officeart/2005/8/layout/matrix1"/>
    <dgm:cxn modelId="{99AD7454-54DA-48E5-BE4B-94A5FE42D7D7}" type="presOf" srcId="{95FB1084-E7E8-EB4B-B967-A267254637FA}" destId="{DA920977-36D3-954D-82D7-25201779FAFF}" srcOrd="0" destOrd="0" presId="urn:microsoft.com/office/officeart/2005/8/layout/matrix1"/>
    <dgm:cxn modelId="{30EB4576-0657-4E4A-8582-910AA6E0B1D1}" srcId="{71FBBD9E-CC5C-DB41-B52F-FA871B884A5E}" destId="{3873FDB8-17BB-2C45-82B8-C8CE9D51B08C}" srcOrd="3" destOrd="0" parTransId="{D3F95416-0D30-CC43-86DC-A536629075EA}" sibTransId="{206A83A3-9786-A84F-83DA-33BE96F3753F}"/>
    <dgm:cxn modelId="{CAFB29C3-2F29-CE4A-B401-088B2CEDEB3B}" srcId="{49939C50-D781-B744-A610-B5156A04F44B}" destId="{D8330738-9266-DE42-8B30-E3C24442AAED}" srcOrd="0" destOrd="0" parTransId="{C2864AB1-1562-0544-AF08-6AC133C8D24F}" sibTransId="{14629C52-910D-D447-AFCC-114F5ADBFC61}"/>
    <dgm:cxn modelId="{54744189-9E88-4987-85A1-8F7143E6EAFC}" type="presOf" srcId="{7C6A8778-20AF-FB4D-AAFD-4CF4AEC8A35E}" destId="{84F6BEF7-3CC4-6D46-BC2A-D8E41A6F356D}" srcOrd="0" destOrd="1" presId="urn:microsoft.com/office/officeart/2005/8/layout/matrix1"/>
    <dgm:cxn modelId="{FB3170AD-4CFA-4EDC-B2E9-598D70704F1A}" type="presOf" srcId="{3873FDB8-17BB-2C45-82B8-C8CE9D51B08C}" destId="{A4018B97-CBE7-B14A-8124-E415E1D491B9}" srcOrd="1" destOrd="4" presId="urn:microsoft.com/office/officeart/2005/8/layout/matrix1"/>
    <dgm:cxn modelId="{DBBC7CC2-936A-4CE0-8AA2-C1A811A27763}" type="presOf" srcId="{ED53335A-B102-1740-918A-3CAC73434890}" destId="{6E9B2660-567F-0E4C-8970-3FA300BB459A}" srcOrd="1" destOrd="3" presId="urn:microsoft.com/office/officeart/2005/8/layout/matrix1"/>
    <dgm:cxn modelId="{BE574469-D2A5-4A86-83CC-CDD4EE23FA3B}" type="presOf" srcId="{49939C50-D781-B744-A610-B5156A04F44B}" destId="{7D4743C1-2768-A14A-86C7-B5AB841CAAFD}" srcOrd="0" destOrd="0" presId="urn:microsoft.com/office/officeart/2005/8/layout/matrix1"/>
    <dgm:cxn modelId="{83526990-2944-4E7E-9D19-CE80C0D0EFB7}" type="presOf" srcId="{7C6A8778-20AF-FB4D-AAFD-4CF4AEC8A35E}" destId="{6E9B2660-567F-0E4C-8970-3FA300BB459A}" srcOrd="1" destOrd="1" presId="urn:microsoft.com/office/officeart/2005/8/layout/matrix1"/>
    <dgm:cxn modelId="{0BF1869F-2E16-6F4C-8AAC-D5A5EE12D205}" srcId="{71FBBD9E-CC5C-DB41-B52F-FA871B884A5E}" destId="{DC31CA2D-7F6A-2543-9892-A70C3D65D4EB}" srcOrd="0" destOrd="0" parTransId="{DA6237E2-B266-6249-B31A-F0418F3E2F25}" sibTransId="{4E7BC6B7-1685-884C-AB09-3E522E2DC017}"/>
    <dgm:cxn modelId="{FE0E4C26-0045-2844-A25F-720A9BA20DE3}" srcId="{2CEEAE00-7BB4-2443-8797-18A5A454AA1B}" destId="{7C6A8778-20AF-FB4D-AAFD-4CF4AEC8A35E}" srcOrd="0" destOrd="0" parTransId="{17368763-DF02-074B-B576-751BC2D2D592}" sibTransId="{C76C0960-D0AC-1248-903E-159D5DEA883C}"/>
    <dgm:cxn modelId="{79E89B8B-7009-4CF3-93D9-6EE80994C356}" type="presOf" srcId="{71FBBD9E-CC5C-DB41-B52F-FA871B884A5E}" destId="{05515BA7-EF59-164C-99D8-4BC729F88D2F}" srcOrd="0" destOrd="0" presId="urn:microsoft.com/office/officeart/2005/8/layout/matrix1"/>
    <dgm:cxn modelId="{3989603A-847F-5248-9B1A-ACAF9B6D248B}" srcId="{D8330738-9266-DE42-8B30-E3C24442AAED}" destId="{71FBBD9E-CC5C-DB41-B52F-FA871B884A5E}" srcOrd="1" destOrd="0" parTransId="{A3978236-0E6A-EC40-A786-877D2BCB4934}" sibTransId="{4FD5F8CC-CB20-6A4F-86AA-88877F5A94AC}"/>
    <dgm:cxn modelId="{49511351-81E7-4605-B123-CA531398F981}" type="presOf" srcId="{615B5F79-C4B4-994C-8B0E-F5957C9CA26F}" destId="{513F9C7C-4089-FD4F-BA4A-FF82D5584E34}" srcOrd="0" destOrd="0" presId="urn:microsoft.com/office/officeart/2005/8/layout/matrix1"/>
    <dgm:cxn modelId="{F914C9AD-9EBF-402A-A690-BE17DEEF8D2E}" type="presOf" srcId="{D8330738-9266-DE42-8B30-E3C24442AAED}" destId="{5761FAAE-83B7-0D4C-A45E-47736BD5CCB3}" srcOrd="0" destOrd="0" presId="urn:microsoft.com/office/officeart/2005/8/layout/matrix1"/>
    <dgm:cxn modelId="{4AA4BDF2-DBBF-4C03-AC36-8C7BC98DCDDD}" type="presOf" srcId="{465062B2-6BF3-7F47-8B4F-04BEB2055815}" destId="{A4018B97-CBE7-B14A-8124-E415E1D491B9}" srcOrd="1" destOrd="2" presId="urn:microsoft.com/office/officeart/2005/8/layout/matrix1"/>
    <dgm:cxn modelId="{CF424079-561E-3B44-BB57-9D9EFA6B925D}" srcId="{2CEEAE00-7BB4-2443-8797-18A5A454AA1B}" destId="{E1A9EE78-84A1-1242-98D3-6C8D7BC76DF6}" srcOrd="3" destOrd="0" parTransId="{7CB1431D-3712-9847-92EE-A0301FE748A5}" sibTransId="{56B7E883-FFA3-1049-B2BB-8C0DF6843E89}"/>
    <dgm:cxn modelId="{B6396E5E-BB34-6342-896E-ED23F77CFAEE}" srcId="{D8330738-9266-DE42-8B30-E3C24442AAED}" destId="{615B5F79-C4B4-994C-8B0E-F5957C9CA26F}" srcOrd="2" destOrd="0" parTransId="{BBB12D2A-B4C8-E544-B71F-7F2EBE991EC4}" sibTransId="{A37B4494-3480-1641-B821-9586F226609D}"/>
    <dgm:cxn modelId="{081C6BCE-F51B-1941-9B5D-42468C591E9F}" srcId="{71FBBD9E-CC5C-DB41-B52F-FA871B884A5E}" destId="{465062B2-6BF3-7F47-8B4F-04BEB2055815}" srcOrd="1" destOrd="0" parTransId="{2E23F319-ECC9-F740-A0A9-62DB131B6B30}" sibTransId="{1F682190-5A68-0847-AC0A-82060879AE06}"/>
    <dgm:cxn modelId="{C854B4D0-1DC1-49DC-80FB-95B3AB21C36F}" type="presParOf" srcId="{7D4743C1-2768-A14A-86C7-B5AB841CAAFD}" destId="{0D9FD8A1-8263-E24A-9A56-A3A1E99BDCC5}" srcOrd="0" destOrd="0" presId="urn:microsoft.com/office/officeart/2005/8/layout/matrix1"/>
    <dgm:cxn modelId="{3043146E-3662-4CB3-98DE-78E0F6D000F9}" type="presParOf" srcId="{0D9FD8A1-8263-E24A-9A56-A3A1E99BDCC5}" destId="{84F6BEF7-3CC4-6D46-BC2A-D8E41A6F356D}" srcOrd="0" destOrd="0" presId="urn:microsoft.com/office/officeart/2005/8/layout/matrix1"/>
    <dgm:cxn modelId="{93908CB4-6D1F-4DA3-BF36-26FD91ED6B4F}" type="presParOf" srcId="{0D9FD8A1-8263-E24A-9A56-A3A1E99BDCC5}" destId="{6E9B2660-567F-0E4C-8970-3FA300BB459A}" srcOrd="1" destOrd="0" presId="urn:microsoft.com/office/officeart/2005/8/layout/matrix1"/>
    <dgm:cxn modelId="{A48BF616-DFDD-4FD9-AC66-0151C355FE31}" type="presParOf" srcId="{0D9FD8A1-8263-E24A-9A56-A3A1E99BDCC5}" destId="{05515BA7-EF59-164C-99D8-4BC729F88D2F}" srcOrd="2" destOrd="0" presId="urn:microsoft.com/office/officeart/2005/8/layout/matrix1"/>
    <dgm:cxn modelId="{7D000E9D-6AF5-4390-BD2E-12366C9EF351}" type="presParOf" srcId="{0D9FD8A1-8263-E24A-9A56-A3A1E99BDCC5}" destId="{A4018B97-CBE7-B14A-8124-E415E1D491B9}" srcOrd="3" destOrd="0" presId="urn:microsoft.com/office/officeart/2005/8/layout/matrix1"/>
    <dgm:cxn modelId="{E9DE184E-4FD0-4465-BA78-B07526256395}" type="presParOf" srcId="{0D9FD8A1-8263-E24A-9A56-A3A1E99BDCC5}" destId="{513F9C7C-4089-FD4F-BA4A-FF82D5584E34}" srcOrd="4" destOrd="0" presId="urn:microsoft.com/office/officeart/2005/8/layout/matrix1"/>
    <dgm:cxn modelId="{A8B3F3E2-AE01-49EA-86C5-B2B12DBF59AB}" type="presParOf" srcId="{0D9FD8A1-8263-E24A-9A56-A3A1E99BDCC5}" destId="{623EBA95-1ACB-DC41-AEC0-DE10D6528377}" srcOrd="5" destOrd="0" presId="urn:microsoft.com/office/officeart/2005/8/layout/matrix1"/>
    <dgm:cxn modelId="{8AC315D9-EE82-4C70-90A6-84483187DF2C}" type="presParOf" srcId="{0D9FD8A1-8263-E24A-9A56-A3A1E99BDCC5}" destId="{DA920977-36D3-954D-82D7-25201779FAFF}" srcOrd="6" destOrd="0" presId="urn:microsoft.com/office/officeart/2005/8/layout/matrix1"/>
    <dgm:cxn modelId="{DDB65D23-D202-4BB5-AA90-14A057B8C196}" type="presParOf" srcId="{0D9FD8A1-8263-E24A-9A56-A3A1E99BDCC5}" destId="{B7C63646-281B-904E-A5AF-4641D43BDC91}" srcOrd="7" destOrd="0" presId="urn:microsoft.com/office/officeart/2005/8/layout/matrix1"/>
    <dgm:cxn modelId="{85052A57-74BA-4F38-98DF-2968CBBCE485}" type="presParOf" srcId="{7D4743C1-2768-A14A-86C7-B5AB841CAAFD}" destId="{5761FAAE-83B7-0D4C-A45E-47736BD5CCB3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CDFAC44-5AB1-4C2F-BA09-C12F96B5AA13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D37052D-2B82-4DAA-9655-669FC75750E3}">
      <dgm:prSet phldrT="[Text]" custT="1"/>
      <dgm:spPr/>
      <dgm:t>
        <a:bodyPr/>
        <a:lstStyle/>
        <a:p>
          <a:r>
            <a:rPr lang="en-US" sz="2000" b="1">
              <a:latin typeface="Calibri"/>
              <a:cs typeface="Calibri"/>
            </a:rPr>
            <a:t>Videos</a:t>
          </a:r>
          <a:endParaRPr lang="en-US" sz="2000" b="1" i="0" u="none" strike="noStrike" cap="none" baseline="0" noProof="0">
            <a:solidFill>
              <a:srgbClr val="010000"/>
            </a:solidFill>
            <a:latin typeface="Calibri"/>
            <a:cs typeface="Calibri"/>
          </a:endParaRPr>
        </a:p>
      </dgm:t>
    </dgm:pt>
    <dgm:pt modelId="{4C7FA4C1-F58F-4FFB-A488-DEB0E6B0E10D}" type="parTrans" cxnId="{B3592369-FA20-40D0-B8D2-8DD875D14E20}">
      <dgm:prSet/>
      <dgm:spPr/>
      <dgm:t>
        <a:bodyPr/>
        <a:lstStyle/>
        <a:p>
          <a:endParaRPr lang="en-US" sz="2400"/>
        </a:p>
      </dgm:t>
    </dgm:pt>
    <dgm:pt modelId="{E980C213-4CB6-487A-BE5C-97B4297AB3CE}" type="sibTrans" cxnId="{B3592369-FA20-40D0-B8D2-8DD875D14E20}">
      <dgm:prSet/>
      <dgm:spPr/>
      <dgm:t>
        <a:bodyPr/>
        <a:lstStyle/>
        <a:p>
          <a:endParaRPr lang="en-US" sz="2400"/>
        </a:p>
      </dgm:t>
    </dgm:pt>
    <dgm:pt modelId="{7539B64E-8701-4723-9299-EFC64045EC09}">
      <dgm:prSet phldrT="[Text]" custT="1"/>
      <dgm:spPr/>
      <dgm:t>
        <a:bodyPr/>
        <a:lstStyle/>
        <a:p>
          <a:r>
            <a:rPr lang="en-US" sz="2000" b="1">
              <a:latin typeface="Calibri"/>
              <a:cs typeface="Calibri"/>
            </a:rPr>
            <a:t>Audio</a:t>
          </a:r>
        </a:p>
      </dgm:t>
    </dgm:pt>
    <dgm:pt modelId="{73FDBF92-5303-405B-9B83-2DABE8B2404D}" type="parTrans" cxnId="{46D8662B-7EAF-439F-8F9C-50381850ACDB}">
      <dgm:prSet/>
      <dgm:spPr/>
      <dgm:t>
        <a:bodyPr/>
        <a:lstStyle/>
        <a:p>
          <a:endParaRPr lang="en-US" sz="2400"/>
        </a:p>
      </dgm:t>
    </dgm:pt>
    <dgm:pt modelId="{D1E3551B-3BF4-4B81-839D-1BC036B2163E}" type="sibTrans" cxnId="{46D8662B-7EAF-439F-8F9C-50381850ACDB}">
      <dgm:prSet/>
      <dgm:spPr/>
      <dgm:t>
        <a:bodyPr/>
        <a:lstStyle/>
        <a:p>
          <a:endParaRPr lang="en-US" sz="2400"/>
        </a:p>
      </dgm:t>
    </dgm:pt>
    <dgm:pt modelId="{E439AFA8-6A04-4428-8E49-1058BFC86785}">
      <dgm:prSet phldrT="[Text]" custT="1"/>
      <dgm:spPr/>
      <dgm:t>
        <a:bodyPr/>
        <a:lstStyle/>
        <a:p>
          <a:pPr rtl="0"/>
          <a:r>
            <a:rPr lang="en-US" sz="2000" b="1">
              <a:latin typeface="Calibri"/>
              <a:cs typeface="Calibri"/>
            </a:rPr>
            <a:t>E-books </a:t>
          </a:r>
        </a:p>
      </dgm:t>
    </dgm:pt>
    <dgm:pt modelId="{A5F8C28B-E80A-4BAF-874C-FCCA92BA6035}" type="parTrans" cxnId="{61F07BEF-9EB1-4F03-94D9-678FA838A7FA}">
      <dgm:prSet/>
      <dgm:spPr/>
      <dgm:t>
        <a:bodyPr/>
        <a:lstStyle/>
        <a:p>
          <a:endParaRPr lang="en-US" sz="2400"/>
        </a:p>
      </dgm:t>
    </dgm:pt>
    <dgm:pt modelId="{BDDB56FF-18C8-4C39-B30C-5DC2AD115C38}" type="sibTrans" cxnId="{61F07BEF-9EB1-4F03-94D9-678FA838A7FA}">
      <dgm:prSet/>
      <dgm:spPr/>
      <dgm:t>
        <a:bodyPr/>
        <a:lstStyle/>
        <a:p>
          <a:endParaRPr lang="en-US" sz="2400"/>
        </a:p>
      </dgm:t>
    </dgm:pt>
    <dgm:pt modelId="{905C5AEE-C3CB-4665-9412-33772396047A}">
      <dgm:prSet phldrT="[Text]" custT="1"/>
      <dgm:spPr/>
      <dgm:t>
        <a:bodyPr/>
        <a:lstStyle/>
        <a:p>
          <a:r>
            <a:rPr lang="en-US" sz="2000" b="1">
              <a:latin typeface="Calibri"/>
              <a:cs typeface="Calibri"/>
            </a:rPr>
            <a:t>Articles for parents </a:t>
          </a:r>
        </a:p>
      </dgm:t>
    </dgm:pt>
    <dgm:pt modelId="{EC7D79C3-4A71-4289-B437-BE52BA049BF9}" type="parTrans" cxnId="{EF83C239-7587-44F6-A411-0815B0883ACC}">
      <dgm:prSet/>
      <dgm:spPr/>
      <dgm:t>
        <a:bodyPr/>
        <a:lstStyle/>
        <a:p>
          <a:endParaRPr lang="en-US" sz="2400"/>
        </a:p>
      </dgm:t>
    </dgm:pt>
    <dgm:pt modelId="{DCC2BFCC-6FFE-4AAD-B679-DB5F9A50295E}" type="sibTrans" cxnId="{EF83C239-7587-44F6-A411-0815B0883ACC}">
      <dgm:prSet/>
      <dgm:spPr/>
      <dgm:t>
        <a:bodyPr/>
        <a:lstStyle/>
        <a:p>
          <a:endParaRPr lang="en-US" sz="2400"/>
        </a:p>
      </dgm:t>
    </dgm:pt>
    <dgm:pt modelId="{0B16AFBC-278F-447B-9A1B-5F017EFFDB2D}">
      <dgm:prSet phldr="0" custT="1"/>
      <dgm:spPr/>
      <dgm:t>
        <a:bodyPr/>
        <a:lstStyle/>
        <a:p>
          <a:pPr rtl="0"/>
          <a:r>
            <a:rPr lang="en-US" sz="2000" b="1" dirty="0">
              <a:latin typeface="Calibri"/>
              <a:cs typeface="Calibri"/>
            </a:rPr>
            <a:t> E-activity sheets/              </a:t>
          </a:r>
          <a:r>
            <a:rPr lang="en-US" sz="2000" b="1" dirty="0" err="1">
              <a:latin typeface="Calibri"/>
              <a:cs typeface="Calibri"/>
            </a:rPr>
            <a:t>printables</a:t>
          </a:r>
          <a:endParaRPr lang="en-US" sz="2000" b="1" dirty="0">
            <a:latin typeface="Calibri"/>
            <a:cs typeface="Calibri"/>
          </a:endParaRPr>
        </a:p>
      </dgm:t>
    </dgm:pt>
    <dgm:pt modelId="{C2C9633C-86E7-4629-A77F-172885F72787}" type="parTrans" cxnId="{8D8E8B6C-B684-4309-AD96-23AFF4ADB73F}">
      <dgm:prSet/>
      <dgm:spPr/>
      <dgm:t>
        <a:bodyPr/>
        <a:lstStyle/>
        <a:p>
          <a:endParaRPr lang="en-US" sz="2400"/>
        </a:p>
      </dgm:t>
    </dgm:pt>
    <dgm:pt modelId="{FE136724-7204-4B1F-99B3-D7033D59EA10}" type="sibTrans" cxnId="{8D8E8B6C-B684-4309-AD96-23AFF4ADB73F}">
      <dgm:prSet/>
      <dgm:spPr/>
      <dgm:t>
        <a:bodyPr/>
        <a:lstStyle/>
        <a:p>
          <a:endParaRPr lang="en-US" sz="2400"/>
        </a:p>
      </dgm:t>
    </dgm:pt>
    <dgm:pt modelId="{3D828A94-10A2-4017-AF0C-14CD4BA53F76}" type="pres">
      <dgm:prSet presAssocID="{BCDFAC44-5AB1-4C2F-BA09-C12F96B5AA1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0A30FB21-4C0D-42AC-B8A6-CFE7B502728A}" type="pres">
      <dgm:prSet presAssocID="{ED37052D-2B82-4DAA-9655-669FC75750E3}" presName="hierRoot1" presStyleCnt="0"/>
      <dgm:spPr/>
    </dgm:pt>
    <dgm:pt modelId="{4EEF788F-336A-4B83-AA42-03832E7E3E56}" type="pres">
      <dgm:prSet presAssocID="{ED37052D-2B82-4DAA-9655-669FC75750E3}" presName="composite" presStyleCnt="0"/>
      <dgm:spPr/>
    </dgm:pt>
    <dgm:pt modelId="{D6ABECE0-CC1C-41BF-9966-3B39C28F41A0}" type="pres">
      <dgm:prSet presAssocID="{ED37052D-2B82-4DAA-9655-669FC75750E3}" presName="background" presStyleLbl="node0" presStyleIdx="0" presStyleCnt="5"/>
      <dgm:spPr/>
    </dgm:pt>
    <dgm:pt modelId="{966AC2CF-5CC1-421B-A7FF-EC10048B7790}" type="pres">
      <dgm:prSet presAssocID="{ED37052D-2B82-4DAA-9655-669FC75750E3}" presName="text" presStyleLbl="fgAcc0" presStyleIdx="0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8F20F63-9FBE-4768-ADC4-08801B3F224D}" type="pres">
      <dgm:prSet presAssocID="{ED37052D-2B82-4DAA-9655-669FC75750E3}" presName="hierChild2" presStyleCnt="0"/>
      <dgm:spPr/>
    </dgm:pt>
    <dgm:pt modelId="{13E0A665-EEB1-46F4-BA3C-65291DB6E90A}" type="pres">
      <dgm:prSet presAssocID="{7539B64E-8701-4723-9299-EFC64045EC09}" presName="hierRoot1" presStyleCnt="0"/>
      <dgm:spPr/>
    </dgm:pt>
    <dgm:pt modelId="{CE18E876-D4F0-48B9-8B02-3C6A6DECC9E0}" type="pres">
      <dgm:prSet presAssocID="{7539B64E-8701-4723-9299-EFC64045EC09}" presName="composite" presStyleCnt="0"/>
      <dgm:spPr/>
    </dgm:pt>
    <dgm:pt modelId="{ADDDA6F8-C3EA-4882-AEDE-749DD2164004}" type="pres">
      <dgm:prSet presAssocID="{7539B64E-8701-4723-9299-EFC64045EC09}" presName="background" presStyleLbl="node0" presStyleIdx="1" presStyleCnt="5"/>
      <dgm:spPr/>
    </dgm:pt>
    <dgm:pt modelId="{20DD0A06-C33A-45D1-BBCF-63434D0885C1}" type="pres">
      <dgm:prSet presAssocID="{7539B64E-8701-4723-9299-EFC64045EC09}" presName="text" presStyleLbl="fgAcc0" presStyleIdx="1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9B3590B-730C-4ED0-8D83-7CE4E063D04D}" type="pres">
      <dgm:prSet presAssocID="{7539B64E-8701-4723-9299-EFC64045EC09}" presName="hierChild2" presStyleCnt="0"/>
      <dgm:spPr/>
    </dgm:pt>
    <dgm:pt modelId="{5950EDB5-0131-44BA-982E-3C13A2E26631}" type="pres">
      <dgm:prSet presAssocID="{E439AFA8-6A04-4428-8E49-1058BFC86785}" presName="hierRoot1" presStyleCnt="0"/>
      <dgm:spPr/>
    </dgm:pt>
    <dgm:pt modelId="{E81D3CAE-C99A-47AA-8615-75E93E312E80}" type="pres">
      <dgm:prSet presAssocID="{E439AFA8-6A04-4428-8E49-1058BFC86785}" presName="composite" presStyleCnt="0"/>
      <dgm:spPr/>
    </dgm:pt>
    <dgm:pt modelId="{3EB86807-3D0F-48FB-A55C-BD5263825A0D}" type="pres">
      <dgm:prSet presAssocID="{E439AFA8-6A04-4428-8E49-1058BFC86785}" presName="background" presStyleLbl="node0" presStyleIdx="2" presStyleCnt="5"/>
      <dgm:spPr/>
    </dgm:pt>
    <dgm:pt modelId="{640FFE4B-4151-475C-9645-44002CB55D55}" type="pres">
      <dgm:prSet presAssocID="{E439AFA8-6A04-4428-8E49-1058BFC86785}" presName="text" presStyleLbl="fgAcc0" presStyleIdx="2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C3E4C6B-F4EB-407C-9C8A-46009526B820}" type="pres">
      <dgm:prSet presAssocID="{E439AFA8-6A04-4428-8E49-1058BFC86785}" presName="hierChild2" presStyleCnt="0"/>
      <dgm:spPr/>
    </dgm:pt>
    <dgm:pt modelId="{728A5EC6-88D8-4E2B-B238-248191AECE69}" type="pres">
      <dgm:prSet presAssocID="{0B16AFBC-278F-447B-9A1B-5F017EFFDB2D}" presName="hierRoot1" presStyleCnt="0"/>
      <dgm:spPr/>
    </dgm:pt>
    <dgm:pt modelId="{01F7937E-A5C3-435B-9D10-95E8E3600C2C}" type="pres">
      <dgm:prSet presAssocID="{0B16AFBC-278F-447B-9A1B-5F017EFFDB2D}" presName="composite" presStyleCnt="0"/>
      <dgm:spPr/>
    </dgm:pt>
    <dgm:pt modelId="{4A7BAB92-A90F-44F4-A755-3F25A384F315}" type="pres">
      <dgm:prSet presAssocID="{0B16AFBC-278F-447B-9A1B-5F017EFFDB2D}" presName="background" presStyleLbl="node0" presStyleIdx="3" presStyleCnt="5"/>
      <dgm:spPr/>
    </dgm:pt>
    <dgm:pt modelId="{40D2FAC9-553E-42D4-A976-4D5B5847DD84}" type="pres">
      <dgm:prSet presAssocID="{0B16AFBC-278F-447B-9A1B-5F017EFFDB2D}" presName="text" presStyleLbl="fgAcc0" presStyleIdx="3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957A822-ECD3-4D41-8C12-29DD7B6A1134}" type="pres">
      <dgm:prSet presAssocID="{0B16AFBC-278F-447B-9A1B-5F017EFFDB2D}" presName="hierChild2" presStyleCnt="0"/>
      <dgm:spPr/>
    </dgm:pt>
    <dgm:pt modelId="{FC190009-2EB5-4E5F-8710-FE40DE55F6E3}" type="pres">
      <dgm:prSet presAssocID="{905C5AEE-C3CB-4665-9412-33772396047A}" presName="hierRoot1" presStyleCnt="0"/>
      <dgm:spPr/>
    </dgm:pt>
    <dgm:pt modelId="{3222F85A-1248-4D6F-8D02-8CB9BFB00DFA}" type="pres">
      <dgm:prSet presAssocID="{905C5AEE-C3CB-4665-9412-33772396047A}" presName="composite" presStyleCnt="0"/>
      <dgm:spPr/>
    </dgm:pt>
    <dgm:pt modelId="{B4ABC38A-029B-4B99-94EF-3A3EEE20210E}" type="pres">
      <dgm:prSet presAssocID="{905C5AEE-C3CB-4665-9412-33772396047A}" presName="background" presStyleLbl="node0" presStyleIdx="4" presStyleCnt="5"/>
      <dgm:spPr/>
    </dgm:pt>
    <dgm:pt modelId="{3A89E2AA-6259-49E8-A406-098C22767D5E}" type="pres">
      <dgm:prSet presAssocID="{905C5AEE-C3CB-4665-9412-33772396047A}" presName="text" presStyleLbl="fgAcc0" presStyleIdx="4" presStyleCnt="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91C4A9E-91F5-4812-80BF-5CB88CAC7B88}" type="pres">
      <dgm:prSet presAssocID="{905C5AEE-C3CB-4665-9412-33772396047A}" presName="hierChild2" presStyleCnt="0"/>
      <dgm:spPr/>
    </dgm:pt>
  </dgm:ptLst>
  <dgm:cxnLst>
    <dgm:cxn modelId="{4AEC6A75-0884-47E4-A133-5B1EB15E27D8}" type="presOf" srcId="{7539B64E-8701-4723-9299-EFC64045EC09}" destId="{20DD0A06-C33A-45D1-BBCF-63434D0885C1}" srcOrd="0" destOrd="0" presId="urn:microsoft.com/office/officeart/2005/8/layout/hierarchy1"/>
    <dgm:cxn modelId="{8D8E8B6C-B684-4309-AD96-23AFF4ADB73F}" srcId="{BCDFAC44-5AB1-4C2F-BA09-C12F96B5AA13}" destId="{0B16AFBC-278F-447B-9A1B-5F017EFFDB2D}" srcOrd="3" destOrd="0" parTransId="{C2C9633C-86E7-4629-A77F-172885F72787}" sibTransId="{FE136724-7204-4B1F-99B3-D7033D59EA10}"/>
    <dgm:cxn modelId="{61F07BEF-9EB1-4F03-94D9-678FA838A7FA}" srcId="{BCDFAC44-5AB1-4C2F-BA09-C12F96B5AA13}" destId="{E439AFA8-6A04-4428-8E49-1058BFC86785}" srcOrd="2" destOrd="0" parTransId="{A5F8C28B-E80A-4BAF-874C-FCCA92BA6035}" sibTransId="{BDDB56FF-18C8-4C39-B30C-5DC2AD115C38}"/>
    <dgm:cxn modelId="{2FA97AAD-586A-4192-8073-D1C69B418B18}" type="presOf" srcId="{BCDFAC44-5AB1-4C2F-BA09-C12F96B5AA13}" destId="{3D828A94-10A2-4017-AF0C-14CD4BA53F76}" srcOrd="0" destOrd="0" presId="urn:microsoft.com/office/officeart/2005/8/layout/hierarchy1"/>
    <dgm:cxn modelId="{37F46E95-F495-4B98-9F9C-9FA06F2D0271}" type="presOf" srcId="{905C5AEE-C3CB-4665-9412-33772396047A}" destId="{3A89E2AA-6259-49E8-A406-098C22767D5E}" srcOrd="0" destOrd="0" presId="urn:microsoft.com/office/officeart/2005/8/layout/hierarchy1"/>
    <dgm:cxn modelId="{20C9111F-4628-48DA-B305-F5AEC178E34F}" type="presOf" srcId="{ED37052D-2B82-4DAA-9655-669FC75750E3}" destId="{966AC2CF-5CC1-421B-A7FF-EC10048B7790}" srcOrd="0" destOrd="0" presId="urn:microsoft.com/office/officeart/2005/8/layout/hierarchy1"/>
    <dgm:cxn modelId="{46D8662B-7EAF-439F-8F9C-50381850ACDB}" srcId="{BCDFAC44-5AB1-4C2F-BA09-C12F96B5AA13}" destId="{7539B64E-8701-4723-9299-EFC64045EC09}" srcOrd="1" destOrd="0" parTransId="{73FDBF92-5303-405B-9B83-2DABE8B2404D}" sibTransId="{D1E3551B-3BF4-4B81-839D-1BC036B2163E}"/>
    <dgm:cxn modelId="{1A969B4F-B987-4095-870A-400D41412D56}" type="presOf" srcId="{0B16AFBC-278F-447B-9A1B-5F017EFFDB2D}" destId="{40D2FAC9-553E-42D4-A976-4D5B5847DD84}" srcOrd="0" destOrd="0" presId="urn:microsoft.com/office/officeart/2005/8/layout/hierarchy1"/>
    <dgm:cxn modelId="{B4AE7E73-D9C1-4DE1-B7BA-55A08257CBAB}" type="presOf" srcId="{E439AFA8-6A04-4428-8E49-1058BFC86785}" destId="{640FFE4B-4151-475C-9645-44002CB55D55}" srcOrd="0" destOrd="0" presId="urn:microsoft.com/office/officeart/2005/8/layout/hierarchy1"/>
    <dgm:cxn modelId="{EF83C239-7587-44F6-A411-0815B0883ACC}" srcId="{BCDFAC44-5AB1-4C2F-BA09-C12F96B5AA13}" destId="{905C5AEE-C3CB-4665-9412-33772396047A}" srcOrd="4" destOrd="0" parTransId="{EC7D79C3-4A71-4289-B437-BE52BA049BF9}" sibTransId="{DCC2BFCC-6FFE-4AAD-B679-DB5F9A50295E}"/>
    <dgm:cxn modelId="{B3592369-FA20-40D0-B8D2-8DD875D14E20}" srcId="{BCDFAC44-5AB1-4C2F-BA09-C12F96B5AA13}" destId="{ED37052D-2B82-4DAA-9655-669FC75750E3}" srcOrd="0" destOrd="0" parTransId="{4C7FA4C1-F58F-4FFB-A488-DEB0E6B0E10D}" sibTransId="{E980C213-4CB6-487A-BE5C-97B4297AB3CE}"/>
    <dgm:cxn modelId="{C6F6AB6B-8001-4DF6-ABD9-5637C27E0C19}" type="presParOf" srcId="{3D828A94-10A2-4017-AF0C-14CD4BA53F76}" destId="{0A30FB21-4C0D-42AC-B8A6-CFE7B502728A}" srcOrd="0" destOrd="0" presId="urn:microsoft.com/office/officeart/2005/8/layout/hierarchy1"/>
    <dgm:cxn modelId="{48BA6C48-94EA-485C-A027-1F189D40585B}" type="presParOf" srcId="{0A30FB21-4C0D-42AC-B8A6-CFE7B502728A}" destId="{4EEF788F-336A-4B83-AA42-03832E7E3E56}" srcOrd="0" destOrd="0" presId="urn:microsoft.com/office/officeart/2005/8/layout/hierarchy1"/>
    <dgm:cxn modelId="{D282E5C6-B442-47B3-A40A-6FF5AF1D43E9}" type="presParOf" srcId="{4EEF788F-336A-4B83-AA42-03832E7E3E56}" destId="{D6ABECE0-CC1C-41BF-9966-3B39C28F41A0}" srcOrd="0" destOrd="0" presId="urn:microsoft.com/office/officeart/2005/8/layout/hierarchy1"/>
    <dgm:cxn modelId="{149CEF5E-C76C-41A1-8AE2-AAD5CB2D0E72}" type="presParOf" srcId="{4EEF788F-336A-4B83-AA42-03832E7E3E56}" destId="{966AC2CF-5CC1-421B-A7FF-EC10048B7790}" srcOrd="1" destOrd="0" presId="urn:microsoft.com/office/officeart/2005/8/layout/hierarchy1"/>
    <dgm:cxn modelId="{D817502E-477B-4290-B4E1-44BB5D5B74CF}" type="presParOf" srcId="{0A30FB21-4C0D-42AC-B8A6-CFE7B502728A}" destId="{A8F20F63-9FBE-4768-ADC4-08801B3F224D}" srcOrd="1" destOrd="0" presId="urn:microsoft.com/office/officeart/2005/8/layout/hierarchy1"/>
    <dgm:cxn modelId="{130B1833-651A-4544-833E-AFF92E57303E}" type="presParOf" srcId="{3D828A94-10A2-4017-AF0C-14CD4BA53F76}" destId="{13E0A665-EEB1-46F4-BA3C-65291DB6E90A}" srcOrd="1" destOrd="0" presId="urn:microsoft.com/office/officeart/2005/8/layout/hierarchy1"/>
    <dgm:cxn modelId="{E81F793D-7DA6-471D-B1F1-182FDAA4D68C}" type="presParOf" srcId="{13E0A665-EEB1-46F4-BA3C-65291DB6E90A}" destId="{CE18E876-D4F0-48B9-8B02-3C6A6DECC9E0}" srcOrd="0" destOrd="0" presId="urn:microsoft.com/office/officeart/2005/8/layout/hierarchy1"/>
    <dgm:cxn modelId="{9C09A2E8-6718-4E78-A747-3A37D8FEFB37}" type="presParOf" srcId="{CE18E876-D4F0-48B9-8B02-3C6A6DECC9E0}" destId="{ADDDA6F8-C3EA-4882-AEDE-749DD2164004}" srcOrd="0" destOrd="0" presId="urn:microsoft.com/office/officeart/2005/8/layout/hierarchy1"/>
    <dgm:cxn modelId="{CA09143D-88E3-4109-B716-4ED22D85C1BA}" type="presParOf" srcId="{CE18E876-D4F0-48B9-8B02-3C6A6DECC9E0}" destId="{20DD0A06-C33A-45D1-BBCF-63434D0885C1}" srcOrd="1" destOrd="0" presId="urn:microsoft.com/office/officeart/2005/8/layout/hierarchy1"/>
    <dgm:cxn modelId="{21F1D7A4-10C3-44D4-BE5D-C30912812F06}" type="presParOf" srcId="{13E0A665-EEB1-46F4-BA3C-65291DB6E90A}" destId="{59B3590B-730C-4ED0-8D83-7CE4E063D04D}" srcOrd="1" destOrd="0" presId="urn:microsoft.com/office/officeart/2005/8/layout/hierarchy1"/>
    <dgm:cxn modelId="{2F027BD3-2FDC-466A-87AC-C3C94ADFD88A}" type="presParOf" srcId="{3D828A94-10A2-4017-AF0C-14CD4BA53F76}" destId="{5950EDB5-0131-44BA-982E-3C13A2E26631}" srcOrd="2" destOrd="0" presId="urn:microsoft.com/office/officeart/2005/8/layout/hierarchy1"/>
    <dgm:cxn modelId="{8F140CB5-D257-48E6-8327-8C82CCD64BBB}" type="presParOf" srcId="{5950EDB5-0131-44BA-982E-3C13A2E26631}" destId="{E81D3CAE-C99A-47AA-8615-75E93E312E80}" srcOrd="0" destOrd="0" presId="urn:microsoft.com/office/officeart/2005/8/layout/hierarchy1"/>
    <dgm:cxn modelId="{A709921C-E15B-42FE-A46F-BCFEC88B4E59}" type="presParOf" srcId="{E81D3CAE-C99A-47AA-8615-75E93E312E80}" destId="{3EB86807-3D0F-48FB-A55C-BD5263825A0D}" srcOrd="0" destOrd="0" presId="urn:microsoft.com/office/officeart/2005/8/layout/hierarchy1"/>
    <dgm:cxn modelId="{DEF30A3E-33AC-441D-9378-7316E767E66B}" type="presParOf" srcId="{E81D3CAE-C99A-47AA-8615-75E93E312E80}" destId="{640FFE4B-4151-475C-9645-44002CB55D55}" srcOrd="1" destOrd="0" presId="urn:microsoft.com/office/officeart/2005/8/layout/hierarchy1"/>
    <dgm:cxn modelId="{039EF29C-6F0A-40BE-9172-EFFAAC16F755}" type="presParOf" srcId="{5950EDB5-0131-44BA-982E-3C13A2E26631}" destId="{2C3E4C6B-F4EB-407C-9C8A-46009526B820}" srcOrd="1" destOrd="0" presId="urn:microsoft.com/office/officeart/2005/8/layout/hierarchy1"/>
    <dgm:cxn modelId="{B8934659-C73A-4FD8-B5D0-FFEA58A20A33}" type="presParOf" srcId="{3D828A94-10A2-4017-AF0C-14CD4BA53F76}" destId="{728A5EC6-88D8-4E2B-B238-248191AECE69}" srcOrd="3" destOrd="0" presId="urn:microsoft.com/office/officeart/2005/8/layout/hierarchy1"/>
    <dgm:cxn modelId="{C6CC3D17-0501-40BA-8433-934802A38677}" type="presParOf" srcId="{728A5EC6-88D8-4E2B-B238-248191AECE69}" destId="{01F7937E-A5C3-435B-9D10-95E8E3600C2C}" srcOrd="0" destOrd="0" presId="urn:microsoft.com/office/officeart/2005/8/layout/hierarchy1"/>
    <dgm:cxn modelId="{18355B8C-9A0A-4B87-83F8-3911AE5F32DD}" type="presParOf" srcId="{01F7937E-A5C3-435B-9D10-95E8E3600C2C}" destId="{4A7BAB92-A90F-44F4-A755-3F25A384F315}" srcOrd="0" destOrd="0" presId="urn:microsoft.com/office/officeart/2005/8/layout/hierarchy1"/>
    <dgm:cxn modelId="{D630A965-AC07-4D21-9841-E80C541A014B}" type="presParOf" srcId="{01F7937E-A5C3-435B-9D10-95E8E3600C2C}" destId="{40D2FAC9-553E-42D4-A976-4D5B5847DD84}" srcOrd="1" destOrd="0" presId="urn:microsoft.com/office/officeart/2005/8/layout/hierarchy1"/>
    <dgm:cxn modelId="{ECB31ECE-8290-482D-9D3F-BD68C709608A}" type="presParOf" srcId="{728A5EC6-88D8-4E2B-B238-248191AECE69}" destId="{D957A822-ECD3-4D41-8C12-29DD7B6A1134}" srcOrd="1" destOrd="0" presId="urn:microsoft.com/office/officeart/2005/8/layout/hierarchy1"/>
    <dgm:cxn modelId="{EDE6E5AB-EAAE-475A-B349-4F4B22C0D2E0}" type="presParOf" srcId="{3D828A94-10A2-4017-AF0C-14CD4BA53F76}" destId="{FC190009-2EB5-4E5F-8710-FE40DE55F6E3}" srcOrd="4" destOrd="0" presId="urn:microsoft.com/office/officeart/2005/8/layout/hierarchy1"/>
    <dgm:cxn modelId="{B4759B26-A3D4-4FC7-9FDD-C306061158E0}" type="presParOf" srcId="{FC190009-2EB5-4E5F-8710-FE40DE55F6E3}" destId="{3222F85A-1248-4D6F-8D02-8CB9BFB00DFA}" srcOrd="0" destOrd="0" presId="urn:microsoft.com/office/officeart/2005/8/layout/hierarchy1"/>
    <dgm:cxn modelId="{561046C2-D0CE-4204-96B1-E651A6D057AF}" type="presParOf" srcId="{3222F85A-1248-4D6F-8D02-8CB9BFB00DFA}" destId="{B4ABC38A-029B-4B99-94EF-3A3EEE20210E}" srcOrd="0" destOrd="0" presId="urn:microsoft.com/office/officeart/2005/8/layout/hierarchy1"/>
    <dgm:cxn modelId="{DBDF11CE-D9A1-4FD0-AFD8-79F011BE652E}" type="presParOf" srcId="{3222F85A-1248-4D6F-8D02-8CB9BFB00DFA}" destId="{3A89E2AA-6259-49E8-A406-098C22767D5E}" srcOrd="1" destOrd="0" presId="urn:microsoft.com/office/officeart/2005/8/layout/hierarchy1"/>
    <dgm:cxn modelId="{6F523BC1-9E14-49E1-B89A-FCA3962FDA18}" type="presParOf" srcId="{FC190009-2EB5-4E5F-8710-FE40DE55F6E3}" destId="{391C4A9E-91F5-4812-80BF-5CB88CAC7B88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19E4E5-80C6-3049-A980-E0814C4B475E}">
      <dsp:nvSpPr>
        <dsp:cNvPr id="0" name=""/>
        <dsp:cNvSpPr/>
      </dsp:nvSpPr>
      <dsp:spPr>
        <a:xfrm>
          <a:off x="282847" y="1908"/>
          <a:ext cx="2095701" cy="197714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Advocacy, Multisectoral, Presence in states</a:t>
          </a:r>
        </a:p>
      </dsp:txBody>
      <dsp:txXfrm>
        <a:off x="589755" y="291454"/>
        <a:ext cx="1481885" cy="1398053"/>
      </dsp:txXfrm>
    </dsp:sp>
    <dsp:sp modelId="{35B177F4-DC9F-6547-8F49-D0741F7270A8}">
      <dsp:nvSpPr>
        <dsp:cNvPr id="0" name=""/>
        <dsp:cNvSpPr/>
      </dsp:nvSpPr>
      <dsp:spPr>
        <a:xfrm>
          <a:off x="888472" y="2267108"/>
          <a:ext cx="884450" cy="884450"/>
        </a:xfrm>
        <a:prstGeom prst="mathPlus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800" kern="1200">
            <a:solidFill>
              <a:schemeClr val="tx1">
                <a:lumMod val="75000"/>
                <a:lumOff val="2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005706" y="2605322"/>
        <a:ext cx="649982" cy="208022"/>
      </dsp:txXfrm>
    </dsp:sp>
    <dsp:sp modelId="{6EE8F688-CE94-AB4A-A396-DF7D98806313}">
      <dsp:nvSpPr>
        <dsp:cNvPr id="0" name=""/>
        <dsp:cNvSpPr/>
      </dsp:nvSpPr>
      <dsp:spPr>
        <a:xfrm>
          <a:off x="311883" y="3439612"/>
          <a:ext cx="2037629" cy="197714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Engaging and tested ECCE content</a:t>
          </a:r>
        </a:p>
      </dsp:txBody>
      <dsp:txXfrm>
        <a:off x="610287" y="3729158"/>
        <a:ext cx="1440821" cy="1398053"/>
      </dsp:txXfrm>
    </dsp:sp>
    <dsp:sp modelId="{1E5A5DE3-4D4B-CE42-88F3-C25F4A047B34}">
      <dsp:nvSpPr>
        <dsp:cNvPr id="0" name=""/>
        <dsp:cNvSpPr/>
      </dsp:nvSpPr>
      <dsp:spPr>
        <a:xfrm>
          <a:off x="2726582" y="2492513"/>
          <a:ext cx="557662" cy="4872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800" kern="1200">
            <a:solidFill>
              <a:schemeClr val="tx1">
                <a:lumMod val="75000"/>
                <a:lumOff val="25000"/>
              </a:scheme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726582" y="2589962"/>
        <a:ext cx="411489" cy="292346"/>
      </dsp:txXfrm>
    </dsp:sp>
    <dsp:sp modelId="{FD8E6C93-509B-F44F-80F4-65BA0273F9CE}">
      <dsp:nvSpPr>
        <dsp:cNvPr id="0" name=""/>
        <dsp:cNvSpPr/>
      </dsp:nvSpPr>
      <dsp:spPr>
        <a:xfrm>
          <a:off x="3885276" y="999631"/>
          <a:ext cx="3419403" cy="341940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8575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Reaching children &amp; parents/ caregivers to facilitate independent learning at home and strengthening of parent-child bond </a:t>
          </a:r>
        </a:p>
      </dsp:txBody>
      <dsp:txXfrm>
        <a:off x="4386036" y="1500391"/>
        <a:ext cx="2417883" cy="241788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655124-DB86-4B0D-AB2F-7491E6B54D5A}" type="datetimeFigureOut">
              <a:rPr lang="en-US" smtClean="0"/>
              <a:t>02-Jul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7D5480-1EA7-4464-A1AE-C7694840F2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004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FC68B1-7167-480C-A3B7-F00F179F04F2}" type="slidenum">
              <a:rPr lang="en-IN" smtClean="0"/>
              <a:t>5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08672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FC68B1-7167-480C-A3B7-F00F179F04F2}" type="slidenum">
              <a:rPr lang="en-IN" smtClean="0"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005302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FC68B1-7167-480C-A3B7-F00F179F04F2}" type="slidenum">
              <a:rPr lang="en-IN" smtClean="0"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323556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FC68B1-7167-480C-A3B7-F00F179F04F2}" type="slidenum">
              <a:rPr lang="en-IN" smtClean="0"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8291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FC68B1-7167-480C-A3B7-F00F179F04F2}" type="slidenum">
              <a:rPr lang="en-IN" smtClean="0"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791111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FC68B1-7167-480C-A3B7-F00F179F04F2}" type="slidenum">
              <a:rPr lang="en-IN" smtClean="0"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96042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tif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A649D15-360B-456F-A04D-C524A855FE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41E1E7B1-B802-4053-BA5E-8C1795ADE4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9845252-E0C1-4440-8AC4-B0954CB169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45979-24D4-4767-8ADE-87C395272925}" type="datetime1">
              <a:rPr lang="en-US" smtClean="0"/>
              <a:t>02-Jul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B010F33-5BB2-4A7B-AB0A-CB21942A1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29B1F4F-3B9C-457D-A4F0-C0B381F0F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437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9E920B-B6A2-4B1A-B9C7-21DAD6B371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0048C5B0-11BE-493D-B1B5-05F006A689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0D05B46-4B0D-4114-BD7B-853E716877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F6A6F-54DB-442A-B09F-0F03E2AC0DDD}" type="datetime1">
              <a:rPr lang="en-US" smtClean="0"/>
              <a:t>02-Jul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D5E5B68-2A6C-48CE-96BA-79108B64EF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81C0A94-44A4-4DE5-A3C0-2C551FE93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30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C7F43A46-9504-45E0-9507-F925F2B379D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3DE99A8D-4210-4FD9-A3EC-7679986CD6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868F8B9-79D7-4CAC-9A0D-13A4F146C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377177-0299-4E01-84DB-A463066713B8}" type="datetime1">
              <a:rPr lang="en-US" smtClean="0"/>
              <a:t>02-Jul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557F479-4ADB-4CAA-897D-E30DAEDC59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09A847C-D530-49C3-9192-7FE46618E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2952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Blue_Divid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5"/>
          <p:cNvSpPr txBox="1">
            <a:spLocks noChangeArrowheads="1"/>
          </p:cNvSpPr>
          <p:nvPr userDrawn="1"/>
        </p:nvSpPr>
        <p:spPr bwMode="auto">
          <a:xfrm>
            <a:off x="9999669" y="6353176"/>
            <a:ext cx="1481137" cy="261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8" rIns="91434" bIns="45718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fld id="{88C7962B-3788-4C25-8803-05DABAB45CFD}" type="slidenum">
              <a:rPr lang="en-US" altLang="en-US" sz="110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pPr algn="r" eaLnBrk="1" hangingPunct="1"/>
              <a:t>‹#›</a:t>
            </a:fld>
            <a:endParaRPr lang="en-US" altLang="en-US" sz="1100">
              <a:solidFill>
                <a:schemeClr val="bg1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609600" y="4876800"/>
            <a:ext cx="10972800" cy="990600"/>
          </a:xfrm>
        </p:spPr>
        <p:txBody>
          <a:bodyPr anchor="b">
            <a:normAutofit/>
          </a:bodyPr>
          <a:lstStyle>
            <a:lvl1pPr algn="r">
              <a:defRPr sz="5300" b="1">
                <a:solidFill>
                  <a:srgbClr val="FFFFFF"/>
                </a:solidFill>
                <a:latin typeface="SesameWkshp Rg" charset="0"/>
                <a:ea typeface="SesameWkshp Rg" charset="0"/>
                <a:cs typeface="SesameWkshp Rg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46565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Blue_Divide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5"/>
          <p:cNvSpPr txBox="1">
            <a:spLocks noChangeArrowheads="1"/>
          </p:cNvSpPr>
          <p:nvPr userDrawn="1"/>
        </p:nvSpPr>
        <p:spPr bwMode="auto">
          <a:xfrm>
            <a:off x="9999669" y="6353176"/>
            <a:ext cx="1481137" cy="261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8" rIns="91434" bIns="45718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fld id="{88C7962B-3788-4C25-8803-05DABAB45CFD}" type="slidenum">
              <a:rPr lang="en-US" altLang="en-US" sz="1100">
                <a:solidFill>
                  <a:schemeClr val="bg1"/>
                </a:solidFill>
                <a:ea typeface="Calibri" panose="020F0502020204030204" pitchFamily="34" charset="0"/>
                <a:cs typeface="Calibri" panose="020F0502020204030204" pitchFamily="34" charset="0"/>
              </a:rPr>
              <a:pPr algn="r" eaLnBrk="1" hangingPunct="1"/>
              <a:t>‹#›</a:t>
            </a:fld>
            <a:endParaRPr lang="en-US" altLang="en-US" sz="1100">
              <a:solidFill>
                <a:schemeClr val="bg1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609600" y="4876800"/>
            <a:ext cx="10972800" cy="990600"/>
          </a:xfrm>
        </p:spPr>
        <p:txBody>
          <a:bodyPr anchor="b">
            <a:normAutofit/>
          </a:bodyPr>
          <a:lstStyle>
            <a:lvl1pPr algn="r">
              <a:defRPr sz="5300" b="1">
                <a:solidFill>
                  <a:srgbClr val="FFFFFF"/>
                </a:solidFill>
                <a:latin typeface="SesameWkshp Rg" charset="0"/>
                <a:ea typeface="SesameWkshp Rg" charset="0"/>
                <a:cs typeface="SesameWkshp Rg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9931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Conten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4"/>
          <p:cNvSpPr txBox="1">
            <a:spLocks noChangeArrowheads="1"/>
          </p:cNvSpPr>
          <p:nvPr userDrawn="1"/>
        </p:nvSpPr>
        <p:spPr bwMode="auto">
          <a:xfrm>
            <a:off x="9999669" y="6353176"/>
            <a:ext cx="1481137" cy="261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8" rIns="91434" bIns="45718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fld id="{B019711D-1BC1-4877-BEA1-829273BECFEA}" type="slidenum">
              <a:rPr lang="en-US" altLang="en-US" sz="1100">
                <a:solidFill>
                  <a:srgbClr val="7F7F7F"/>
                </a:solidFill>
                <a:ea typeface="Calibri" panose="020F0502020204030204" pitchFamily="34" charset="0"/>
                <a:cs typeface="Calibri" panose="020F0502020204030204" pitchFamily="34" charset="0"/>
              </a:rPr>
              <a:pPr algn="r" eaLnBrk="1" hangingPunct="1"/>
              <a:t>‹#›</a:t>
            </a:fld>
            <a:endParaRPr lang="en-US" altLang="en-US" sz="1100">
              <a:solidFill>
                <a:srgbClr val="7F7F7F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8000" y="69412"/>
            <a:ext cx="10972800" cy="1143000"/>
          </a:xfrm>
        </p:spPr>
        <p:txBody>
          <a:bodyPr>
            <a:normAutofit/>
          </a:bodyPr>
          <a:lstStyle>
            <a:lvl1pPr algn="l">
              <a:defRPr sz="2400" b="1">
                <a:solidFill>
                  <a:schemeClr val="accent3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508000" y="1285875"/>
            <a:ext cx="10972800" cy="4429126"/>
          </a:xfrm>
        </p:spPr>
        <p:txBody>
          <a:bodyPr>
            <a:normAutofit/>
          </a:bodyPr>
          <a:lstStyle>
            <a:lvl1pPr>
              <a:buClr>
                <a:schemeClr val="accent3"/>
              </a:buClr>
              <a:defRPr sz="2000">
                <a:solidFill>
                  <a:schemeClr val="tx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buClr>
                <a:schemeClr val="accent3"/>
              </a:buClr>
              <a:defRPr sz="1900">
                <a:solidFill>
                  <a:schemeClr val="tx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buClr>
                <a:schemeClr val="accent3"/>
              </a:buClr>
              <a:defRPr sz="1600">
                <a:solidFill>
                  <a:schemeClr val="tx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buClr>
                <a:schemeClr val="accent3"/>
              </a:buClr>
              <a:defRPr sz="1600">
                <a:solidFill>
                  <a:schemeClr val="tx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buClr>
                <a:schemeClr val="accent3"/>
              </a:buClr>
              <a:defRPr sz="1600">
                <a:solidFill>
                  <a:schemeClr val="tx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Content Placeholder 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0316" y="6318815"/>
            <a:ext cx="1701800" cy="530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1836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0">
          <p15:clr>
            <a:srgbClr val="FBAE40"/>
          </p15:clr>
        </p15:guide>
        <p15:guide id="2" orient="horz" pos="424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_Co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42_pptdiv_count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812"/>
            <a:ext cx="12192000" cy="688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11258554" y="6458282"/>
            <a:ext cx="782639" cy="261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8" rIns="91434" bIns="45718" anchor="b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fld id="{6BF0F34E-A4C4-4CDA-A386-D2B4A3DB0B3E}" type="slidenum">
              <a:rPr lang="en-US" altLang="en-US" sz="1100">
                <a:solidFill>
                  <a:srgbClr val="D9D9D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 eaLnBrk="1" hangingPunct="1"/>
              <a:t>‹#›</a:t>
            </a:fld>
            <a:endParaRPr lang="en-US" altLang="en-US" sz="1100">
              <a:solidFill>
                <a:srgbClr val="D9D9D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34475" y="425697"/>
            <a:ext cx="8432800" cy="609599"/>
          </a:xfrm>
        </p:spPr>
        <p:txBody>
          <a:bodyPr anchor="b">
            <a:normAutofit/>
          </a:bodyPr>
          <a:lstStyle>
            <a:lvl1pPr algn="l">
              <a:defRPr sz="4300" b="1" i="0">
                <a:solidFill>
                  <a:schemeClr val="bg1"/>
                </a:solidFill>
                <a:latin typeface="SesameWkshp Rg" panose="02000000000000000000" pitchFamily="2" charset="0"/>
                <a:cs typeface="SesameWkshp Rg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434475" y="1204191"/>
            <a:ext cx="6604000" cy="533400"/>
          </a:xfrm>
        </p:spPr>
        <p:txBody>
          <a:bodyPr>
            <a:normAutofit/>
          </a:bodyPr>
          <a:lstStyle>
            <a:lvl1pPr marL="0" indent="0" algn="l">
              <a:buNone/>
              <a:defRPr sz="2900">
                <a:solidFill>
                  <a:schemeClr val="bg1"/>
                </a:solidFill>
                <a:latin typeface="SesameWkshp Rg" panose="02000000000000000000" pitchFamily="2" charset="0"/>
                <a:cs typeface="SesameWkshp Rg" panose="02000000000000000000" pitchFamily="2" charset="0"/>
              </a:defRPr>
            </a:lvl1pPr>
            <a:lvl2pPr marL="609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204587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5592B97-B804-4945-8577-FB58F52B8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01E7725-9EFE-1345-89E8-4086AB31F6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73A2849-F757-E64F-9CB0-01B72A37F5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7F183-0E02-3543-814A-230FBA1111FF}" type="datetime1">
              <a:rPr lang="en-IN" smtClean="0"/>
              <a:t>02-07-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C75C6BF-3EFA-0248-82EF-21BB46D77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08A3F1F-2B2E-9C47-89CB-8EEC364312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E4D42-630E-D240-B695-A76788BECA6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8331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A362BB6-95AD-4C85-AA0C-52C061BAB2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C5E5371-8ED5-4095-8FF1-2249A6EE15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5A83DCD-08A3-49C4-AFF5-07CDA01D02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C361BC-0D3B-42DD-BDD7-E64CFBD27591}" type="datetime1">
              <a:rPr lang="en-US" smtClean="0"/>
              <a:t>02-Jul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DA17533-3099-4A84-9825-75F1AB746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C750FD6-E88A-41AA-9E63-147FC10EB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676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E497439-62C3-4DF4-B6A2-A1FCD8A8E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4A18679-6F7D-4B70-99D4-793F27B09B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2B446D0-2269-4933-8C80-731B11AB76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023A7-C0D5-4AA7-8388-0011F07AA1A2}" type="datetime1">
              <a:rPr lang="en-US" smtClean="0"/>
              <a:t>02-Jul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FB39E62-6A0E-4141-B903-CC6F3EF1E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DD5C455-BAB5-4705-B976-C66BD1B94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835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382D2EB-4731-4B14-9D39-DB458B998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EC345A9-4704-4D1E-8191-0020A4828E0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2B9EDDC7-875E-4D9F-A052-EEA4E47C24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8D48CE8-085B-4A43-A447-CAFB96E9C9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25B87-CFF8-4113-B17A-4259AC906CEA}" type="datetime1">
              <a:rPr lang="en-US" smtClean="0"/>
              <a:t>02-Jul-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FE96E1A-32AF-4EA2-8FE8-EDD16F0FA3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E5DEE320-6D8D-4A6D-93AA-442036628D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048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FCB61DE-3B53-4430-8830-0AB6EFF46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20E6CD8-B8AA-4BBF-890C-518A1622BD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7798B3F-9983-4352-95DC-8727101BD3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7C3B4C76-0658-43D1-9FD8-F181B6CAD0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BD1043B6-F3BD-4301-AA10-0C850A75E4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A2C6FFB1-6658-4C59-91EA-E5D50B548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8E37D-F51F-4987-B24B-71A2FF980DCE}" type="datetime1">
              <a:rPr lang="en-US" smtClean="0"/>
              <a:t>02-Jul-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E0283703-4F6B-4904-B7DB-83AE66D704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783F78D-0AA6-4D9C-AD66-C45C7A22D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6899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F9537CE-E703-4796-BCE3-0760B8D585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37AEAD2-905B-40B0-B656-F5DDCFAC0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F206FE-B213-4675-9E86-F13A916EEF99}" type="datetime1">
              <a:rPr lang="en-US" smtClean="0"/>
              <a:t>02-Jul-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D403230-4814-4704-B980-DD0E9AD2B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BD5853CA-55C4-495F-98B5-B0AF12573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5417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B1423756-A1EA-488D-A2C4-58182BEBA6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EDD60-749B-42B7-8AAE-1B9EBB8209D2}" type="datetime1">
              <a:rPr lang="en-US" smtClean="0"/>
              <a:t>02-Jul-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1C0A5D3D-B2B4-4C83-BC70-DC3BA6C28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E3AE998-2A70-4447-887D-0DBACAD97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9230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BB3BF33-80B3-4C56-82DC-BF6F9B041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DC7F0C2-2105-4594-BED5-8C7DDDB0E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25859E6-A6E2-44EA-AFCC-53116EBB12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57DF60D-3FC4-4393-845C-A3A431588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3E4C9-BC9B-4CCC-9317-BDE9B7A5E896}" type="datetime1">
              <a:rPr lang="en-US" smtClean="0"/>
              <a:t>02-Jul-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E64FCB7-8300-48A7-89EC-3EB1B168B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9B6C524-9FAA-4BAD-BECB-45AB7DC1F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7149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C3AC539-0E34-4C13-A3DC-FC6F16540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726C7C3E-E2EB-4D01-AE2F-45CBFBE5069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9C01A5A-65F6-4B3C-856A-A47D51009C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A329BB0-B54D-4033-891C-BC1BE43BA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BFF86-E50A-424B-B1AF-F69DBCB867F9}" type="datetime1">
              <a:rPr lang="en-US" smtClean="0"/>
              <a:t>02-Jul-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8504777C-151E-4A4F-95A4-649B318C4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E37003F8-E82C-447F-9ACF-684CA5B18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3732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2FF7BD3F-5C23-471A-ADC3-07AEC6377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04E2610-C44C-4852-8107-6BB31267B2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304C4C4-FC31-4EA0-9693-6C495AA5B9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CA7338-4ED7-46EE-9EAD-7FD9C7C5FCD0}" type="datetime1">
              <a:rPr lang="en-US" smtClean="0"/>
              <a:t>02-Jul-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5746E37-EF43-4536-A00B-7A98D53DB1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3A92FD7-F505-412E-B1E1-9EA5B3E095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19B4EA-8913-4F8E-89F6-384B51B902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555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223D8718-F83A-4346-87EC-0805411ED776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700" b="1" i="0" baseline="0">
              <a:latin typeface="Arial Rounded MT Bold" panose="020F0704030504030204" pitchFamily="34" charset="0"/>
              <a:sym typeface="Arial Rounded MT Bold" panose="020F0704030504030204" pitchFamily="34" charset="0"/>
            </a:endParaRPr>
          </a:p>
        </p:txBody>
      </p:sp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4" tIns="45718" rIns="91434" bIns="457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5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6688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hf hdr="0" ftr="0" dt="0"/>
  <p:txStyles>
    <p:titleStyle>
      <a:lvl1pPr algn="l" defTabSz="1217552" rtl="0" fontAlgn="base">
        <a:spcBef>
          <a:spcPct val="0"/>
        </a:spcBef>
        <a:spcAft>
          <a:spcPct val="0"/>
        </a:spcAft>
        <a:defRPr sz="3700" b="1" kern="1200">
          <a:solidFill>
            <a:srgbClr val="7F7F7F"/>
          </a:solidFill>
          <a:latin typeface="Arial Rounded MT Bold"/>
          <a:ea typeface="Arial Rounded MT Bold" panose="020F0704030504030204" pitchFamily="34" charset="0"/>
          <a:cs typeface="Arial Rounded MT Bold"/>
        </a:defRPr>
      </a:lvl1pPr>
      <a:lvl2pPr algn="l" defTabSz="1217552" rtl="0" fontAlgn="base">
        <a:spcBef>
          <a:spcPct val="0"/>
        </a:spcBef>
        <a:spcAft>
          <a:spcPct val="0"/>
        </a:spcAft>
        <a:defRPr sz="3700" b="1">
          <a:solidFill>
            <a:srgbClr val="7F7F7F"/>
          </a:solidFill>
          <a:latin typeface="Arial Rounded MT Bold" panose="020F0704030504030204" pitchFamily="34" charset="0"/>
          <a:ea typeface="Arial Rounded MT Bold" panose="020F0704030504030204" pitchFamily="34" charset="0"/>
          <a:cs typeface="Arial Rounded MT Bold" panose="020F0704030504030204" pitchFamily="34" charset="0"/>
        </a:defRPr>
      </a:lvl2pPr>
      <a:lvl3pPr algn="l" defTabSz="1217552" rtl="0" fontAlgn="base">
        <a:spcBef>
          <a:spcPct val="0"/>
        </a:spcBef>
        <a:spcAft>
          <a:spcPct val="0"/>
        </a:spcAft>
        <a:defRPr sz="3700" b="1">
          <a:solidFill>
            <a:srgbClr val="7F7F7F"/>
          </a:solidFill>
          <a:latin typeface="Arial Rounded MT Bold" panose="020F0704030504030204" pitchFamily="34" charset="0"/>
          <a:ea typeface="Arial Rounded MT Bold" panose="020F0704030504030204" pitchFamily="34" charset="0"/>
          <a:cs typeface="Arial Rounded MT Bold" panose="020F0704030504030204" pitchFamily="34" charset="0"/>
        </a:defRPr>
      </a:lvl3pPr>
      <a:lvl4pPr algn="l" defTabSz="1217552" rtl="0" fontAlgn="base">
        <a:spcBef>
          <a:spcPct val="0"/>
        </a:spcBef>
        <a:spcAft>
          <a:spcPct val="0"/>
        </a:spcAft>
        <a:defRPr sz="3700" b="1">
          <a:solidFill>
            <a:srgbClr val="7F7F7F"/>
          </a:solidFill>
          <a:latin typeface="Arial Rounded MT Bold" panose="020F0704030504030204" pitchFamily="34" charset="0"/>
          <a:ea typeface="Arial Rounded MT Bold" panose="020F0704030504030204" pitchFamily="34" charset="0"/>
          <a:cs typeface="Arial Rounded MT Bold" panose="020F0704030504030204" pitchFamily="34" charset="0"/>
        </a:defRPr>
      </a:lvl4pPr>
      <a:lvl5pPr algn="l" defTabSz="1217552" rtl="0" fontAlgn="base">
        <a:spcBef>
          <a:spcPct val="0"/>
        </a:spcBef>
        <a:spcAft>
          <a:spcPct val="0"/>
        </a:spcAft>
        <a:defRPr sz="3700" b="1">
          <a:solidFill>
            <a:srgbClr val="7F7F7F"/>
          </a:solidFill>
          <a:latin typeface="Arial Rounded MT Bold" panose="020F0704030504030204" pitchFamily="34" charset="0"/>
          <a:ea typeface="Arial Rounded MT Bold" panose="020F0704030504030204" pitchFamily="34" charset="0"/>
          <a:cs typeface="Arial Rounded MT Bold" panose="020F0704030504030204" pitchFamily="34" charset="0"/>
        </a:defRPr>
      </a:lvl5pPr>
      <a:lvl6pPr marL="457178" algn="l" defTabSz="1217552" rtl="0" fontAlgn="base">
        <a:spcBef>
          <a:spcPct val="0"/>
        </a:spcBef>
        <a:spcAft>
          <a:spcPct val="0"/>
        </a:spcAft>
        <a:defRPr sz="3700" b="1">
          <a:solidFill>
            <a:srgbClr val="7F7F7F"/>
          </a:solidFill>
          <a:latin typeface="Arial Rounded MT Bold" panose="020F0704030504030204" pitchFamily="34" charset="0"/>
          <a:ea typeface="Arial Rounded MT Bold" panose="020F0704030504030204" pitchFamily="34" charset="0"/>
          <a:cs typeface="Arial Rounded MT Bold" panose="020F0704030504030204" pitchFamily="34" charset="0"/>
        </a:defRPr>
      </a:lvl6pPr>
      <a:lvl7pPr marL="914354" algn="l" defTabSz="1217552" rtl="0" fontAlgn="base">
        <a:spcBef>
          <a:spcPct val="0"/>
        </a:spcBef>
        <a:spcAft>
          <a:spcPct val="0"/>
        </a:spcAft>
        <a:defRPr sz="3700" b="1">
          <a:solidFill>
            <a:srgbClr val="7F7F7F"/>
          </a:solidFill>
          <a:latin typeface="Arial Rounded MT Bold" panose="020F0704030504030204" pitchFamily="34" charset="0"/>
          <a:ea typeface="Arial Rounded MT Bold" panose="020F0704030504030204" pitchFamily="34" charset="0"/>
          <a:cs typeface="Arial Rounded MT Bold" panose="020F0704030504030204" pitchFamily="34" charset="0"/>
        </a:defRPr>
      </a:lvl7pPr>
      <a:lvl8pPr marL="1371532" algn="l" defTabSz="1217552" rtl="0" fontAlgn="base">
        <a:spcBef>
          <a:spcPct val="0"/>
        </a:spcBef>
        <a:spcAft>
          <a:spcPct val="0"/>
        </a:spcAft>
        <a:defRPr sz="3700" b="1">
          <a:solidFill>
            <a:srgbClr val="7F7F7F"/>
          </a:solidFill>
          <a:latin typeface="Arial Rounded MT Bold" panose="020F0704030504030204" pitchFamily="34" charset="0"/>
          <a:ea typeface="Arial Rounded MT Bold" panose="020F0704030504030204" pitchFamily="34" charset="0"/>
          <a:cs typeface="Arial Rounded MT Bold" panose="020F0704030504030204" pitchFamily="34" charset="0"/>
        </a:defRPr>
      </a:lvl8pPr>
      <a:lvl9pPr marL="1828709" algn="l" defTabSz="1217552" rtl="0" fontAlgn="base">
        <a:spcBef>
          <a:spcPct val="0"/>
        </a:spcBef>
        <a:spcAft>
          <a:spcPct val="0"/>
        </a:spcAft>
        <a:defRPr sz="3700" b="1">
          <a:solidFill>
            <a:srgbClr val="7F7F7F"/>
          </a:solidFill>
          <a:latin typeface="Arial Rounded MT Bold" panose="020F0704030504030204" pitchFamily="34" charset="0"/>
          <a:ea typeface="Arial Rounded MT Bold" panose="020F0704030504030204" pitchFamily="34" charset="0"/>
          <a:cs typeface="Arial Rounded MT Bold" panose="020F0704030504030204" pitchFamily="34" charset="0"/>
        </a:defRPr>
      </a:lvl9pPr>
    </p:titleStyle>
    <p:bodyStyle>
      <a:lvl1pPr marL="455591" indent="-455591" algn="l" defTabSz="1217552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7F7F7F"/>
          </a:solidFill>
          <a:latin typeface="Arial Rounded MT Bold"/>
          <a:ea typeface="Arial Rounded MT Bold" panose="020F0704030504030204" pitchFamily="34" charset="0"/>
          <a:cs typeface="Arial Rounded MT Bold"/>
        </a:defRPr>
      </a:lvl1pPr>
      <a:lvl2pPr marL="988965" indent="-379395" algn="l" defTabSz="1217552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7F7F7F"/>
          </a:solidFill>
          <a:latin typeface="Arial Rounded MT Bold"/>
          <a:ea typeface="Arial Rounded MT Bold" panose="020F0704030504030204" pitchFamily="34" charset="0"/>
          <a:cs typeface="Arial Rounded MT Bold"/>
        </a:defRPr>
      </a:lvl2pPr>
      <a:lvl3pPr marL="1522337" indent="-303199" algn="l" defTabSz="1217552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7F7F7F"/>
          </a:solidFill>
          <a:latin typeface="Arial Rounded MT Bold"/>
          <a:ea typeface="Arial Rounded MT Bold" panose="020F0704030504030204" pitchFamily="34" charset="0"/>
          <a:cs typeface="Arial Rounded MT Bold"/>
        </a:defRPr>
      </a:lvl3pPr>
      <a:lvl4pPr marL="2131907" indent="-303199" algn="l" defTabSz="1217552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7F7F7F"/>
          </a:solidFill>
          <a:latin typeface="Arial Rounded MT Bold"/>
          <a:ea typeface="Arial Rounded MT Bold" panose="020F0704030504030204" pitchFamily="34" charset="0"/>
          <a:cs typeface="Arial Rounded MT Bold"/>
        </a:defRPr>
      </a:lvl4pPr>
      <a:lvl5pPr marL="2741477" indent="-303199" algn="l" defTabSz="1217552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7F7F7F"/>
          </a:solidFill>
          <a:latin typeface="Arial Rounded MT Bold"/>
          <a:ea typeface="Arial Rounded MT Bold" panose="020F0704030504030204" pitchFamily="34" charset="0"/>
          <a:cs typeface="Arial Rounded MT Bold"/>
        </a:defRPr>
      </a:lvl5pPr>
      <a:lvl6pPr marL="335246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121908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8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5.tiff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tiff"/><Relationship Id="rId5" Type="http://schemas.openxmlformats.org/officeDocument/2006/relationships/image" Target="../media/image20.png"/><Relationship Id="rId4" Type="http://schemas.openxmlformats.org/officeDocument/2006/relationships/image" Target="../media/image9.png"/><Relationship Id="rId9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7" Type="http://schemas.openxmlformats.org/officeDocument/2006/relationships/image" Target="../media/image2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shobha.kapoor@sesame.org" TargetMode="External"/><Relationship Id="rId4" Type="http://schemas.openxmlformats.org/officeDocument/2006/relationships/hyperlink" Target="mailto:amalhotra@unicef.or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5.tif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tiff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5.tiff"/><Relationship Id="rId7" Type="http://schemas.openxmlformats.org/officeDocument/2006/relationships/diagramColors" Target="../diagrams/colors2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5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9.png"/><Relationship Id="rId5" Type="http://schemas.openxmlformats.org/officeDocument/2006/relationships/image" Target="../media/image5.tiff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emf"/><Relationship Id="rId2" Type="http://schemas.openxmlformats.org/officeDocument/2006/relationships/audio" Target="../media/media2.mp3"/><Relationship Id="rId1" Type="http://schemas.microsoft.com/office/2007/relationships/media" Target="../media/media2.mp3"/><Relationship Id="rId6" Type="http://schemas.openxmlformats.org/officeDocument/2006/relationships/image" Target="../media/image9.png"/><Relationship Id="rId5" Type="http://schemas.openxmlformats.org/officeDocument/2006/relationships/image" Target="../media/image5.tiff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9.png"/><Relationship Id="rId5" Type="http://schemas.openxmlformats.org/officeDocument/2006/relationships/image" Target="../media/image5.tiff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0CFBB3E-928E-9E44-903F-B806DC8C6B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2369" y="1555589"/>
            <a:ext cx="4807116" cy="2670620"/>
          </a:xfrm>
          <a:prstGeom prst="rect">
            <a:avLst/>
          </a:prstGeom>
        </p:spPr>
      </p:pic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xmlns="" id="{24A68815-F8C6-B64A-BBE8-430141F3C62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4965" y="1202187"/>
            <a:ext cx="3860800" cy="34925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3273A5D-F1A2-3847-899D-D87550B05B9C}"/>
              </a:ext>
            </a:extLst>
          </p:cNvPr>
          <p:cNvSpPr txBox="1"/>
          <p:nvPr/>
        </p:nvSpPr>
        <p:spPr>
          <a:xfrm>
            <a:off x="7084965" y="5034682"/>
            <a:ext cx="40097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400">
                <a:solidFill>
                  <a:schemeClr val="bg1"/>
                </a:solidFill>
                <a:latin typeface="SesameWkshp Rg" panose="02000000000000000000" pitchFamily="2" charset="0"/>
              </a:rPr>
              <a:t>Helping kids grow smarter, stronger and kin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B47216A-CAC6-DF4D-89A1-84722B5D855E}"/>
              </a:ext>
            </a:extLst>
          </p:cNvPr>
          <p:cNvSpPr txBox="1"/>
          <p:nvPr/>
        </p:nvSpPr>
        <p:spPr>
          <a:xfrm>
            <a:off x="6111163" y="2486772"/>
            <a:ext cx="7421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600">
                <a:solidFill>
                  <a:schemeClr val="bg1"/>
                </a:solidFill>
                <a:latin typeface="SesameWkshp Rg" panose="02000000000000000000" pitchFamily="2" charset="0"/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41445797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616E500-B8B4-4236-9BF1-743ED793C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172" y="150808"/>
            <a:ext cx="5769874" cy="633368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IN" sz="2400" b="1">
                <a:solidFill>
                  <a:srgbClr val="0070C0"/>
                </a:solidFill>
                <a:latin typeface="Calibri"/>
              </a:rPr>
              <a:t>Content examples:</a:t>
            </a:r>
            <a:endParaRPr lang="en-US" sz="2400" b="1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153051B-2923-4941-9F01-FD5A7FEC6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068B-BFC1-5843-814D-F3B85E8801EF}" type="slidenum">
              <a:rPr lang="en-US" smtClean="0"/>
              <a:t>10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CB36C77-003A-F54A-889C-4A8C92ECB6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532" y="6258113"/>
            <a:ext cx="862548" cy="479194"/>
          </a:xfrm>
          <a:prstGeom prst="rect">
            <a:avLst/>
          </a:prstGeom>
        </p:spPr>
      </p:pic>
      <p:pic>
        <p:nvPicPr>
          <p:cNvPr id="13" name="Picture 12" descr="A picture containing black, parked, people, traffic&#10;&#10;Description automatically generated">
            <a:extLst>
              <a:ext uri="{FF2B5EF4-FFF2-40B4-BE49-F238E27FC236}">
                <a16:creationId xmlns:a16="http://schemas.microsoft.com/office/drawing/2014/main" xmlns="" id="{88ABE388-FA13-7A44-B90C-4FFE48EA77D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133" y="6156804"/>
            <a:ext cx="742199" cy="671398"/>
          </a:xfrm>
          <a:prstGeom prst="rect">
            <a:avLst/>
          </a:prstGeom>
        </p:spPr>
      </p:pic>
      <p:pic>
        <p:nvPicPr>
          <p:cNvPr id="28" name="Picture 27" descr="A picture containing grass&#10;&#10;Description automatically generated">
            <a:extLst>
              <a:ext uri="{FF2B5EF4-FFF2-40B4-BE49-F238E27FC236}">
                <a16:creationId xmlns:a16="http://schemas.microsoft.com/office/drawing/2014/main" xmlns="" id="{8D6FEB35-7479-9A44-94C1-A44C167DDC7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65" y="840334"/>
            <a:ext cx="3122143" cy="2427465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2D6FB851-BC9C-2A4C-8C07-E747B93756F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7044" t="12704" r="26823" b="4724"/>
          <a:stretch/>
        </p:blipFill>
        <p:spPr>
          <a:xfrm>
            <a:off x="8316599" y="823270"/>
            <a:ext cx="2206753" cy="2468623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970D9927-5831-B541-AA5E-258A1E80913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65" y="3640641"/>
            <a:ext cx="3104943" cy="2414092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870AF268-6022-8C4E-B540-11A4E2FB854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192" y="3682462"/>
            <a:ext cx="3252903" cy="2545395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32" name="Picture 31" descr="A close up of a logo&#10;&#10;Description automatically generated">
            <a:extLst>
              <a:ext uri="{FF2B5EF4-FFF2-40B4-BE49-F238E27FC236}">
                <a16:creationId xmlns:a16="http://schemas.microsoft.com/office/drawing/2014/main" xmlns="" id="{995A8751-B74A-B04E-89CA-03C272B44BB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425" y="3679277"/>
            <a:ext cx="1972342" cy="2434737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26D9E04D-EFAB-584B-8780-4C9BE689157A}"/>
              </a:ext>
            </a:extLst>
          </p:cNvPr>
          <p:cNvSpPr txBox="1"/>
          <p:nvPr/>
        </p:nvSpPr>
        <p:spPr>
          <a:xfrm>
            <a:off x="4310743" y="795605"/>
            <a:ext cx="338821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000" b="1">
                <a:solidFill>
                  <a:schemeClr val="tx1">
                    <a:lumMod val="75000"/>
                    <a:lumOff val="25000"/>
                  </a:schemeClr>
                </a:solidFill>
              </a:rPr>
              <a:t>E-books:</a:t>
            </a:r>
          </a:p>
          <a:p>
            <a:pPr algn="just"/>
            <a:endParaRPr lang="en-US" sz="20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Themes covered include Math, Health &amp; Hygiene, Language &amp; Literacy, Environment &amp; Nature etc. </a:t>
            </a:r>
          </a:p>
        </p:txBody>
      </p:sp>
    </p:spTree>
    <p:extLst>
      <p:ext uri="{BB962C8B-B14F-4D97-AF65-F5344CB8AC3E}">
        <p14:creationId xmlns:p14="http://schemas.microsoft.com/office/powerpoint/2010/main" val="34264179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616E500-B8B4-4236-9BF1-743ED793C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35920"/>
            <a:ext cx="5769874" cy="633368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IN" sz="1800" b="1">
                <a:solidFill>
                  <a:srgbClr val="0070C0"/>
                </a:solidFill>
                <a:latin typeface="Calibri"/>
              </a:rPr>
              <a:t>Content examples:</a:t>
            </a:r>
            <a:endParaRPr lang="en-US" sz="1800" b="1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153051B-2923-4941-9F01-FD5A7FEC6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068B-BFC1-5843-814D-F3B85E8801EF}" type="slidenum">
              <a:rPr lang="en-US" smtClean="0"/>
              <a:t>11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CB36C77-003A-F54A-889C-4A8C92ECB6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532" y="6258113"/>
            <a:ext cx="862548" cy="479194"/>
          </a:xfrm>
          <a:prstGeom prst="rect">
            <a:avLst/>
          </a:prstGeom>
        </p:spPr>
      </p:pic>
      <p:pic>
        <p:nvPicPr>
          <p:cNvPr id="13" name="Picture 12" descr="A picture containing black, parked, people, traffic&#10;&#10;Description automatically generated">
            <a:extLst>
              <a:ext uri="{FF2B5EF4-FFF2-40B4-BE49-F238E27FC236}">
                <a16:creationId xmlns:a16="http://schemas.microsoft.com/office/drawing/2014/main" xmlns="" id="{88ABE388-FA13-7A44-B90C-4FFE48EA77D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133" y="6156804"/>
            <a:ext cx="742199" cy="67139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293A4C38-63B8-CB42-AFD0-1ED61D6FD2E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517" y="2901965"/>
            <a:ext cx="4194713" cy="2983832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1B428DAD-FC2B-2C47-90B7-C007CC004D8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54" y="972203"/>
            <a:ext cx="3687919" cy="5070889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9A2620ED-6D0C-3040-9136-1646212E48F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9279" y="1012059"/>
            <a:ext cx="3725553" cy="5070890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227CAA6-CD21-BC4F-9A99-05E652C5A04A}"/>
              </a:ext>
            </a:extLst>
          </p:cNvPr>
          <p:cNvSpPr txBox="1"/>
          <p:nvPr/>
        </p:nvSpPr>
        <p:spPr>
          <a:xfrm>
            <a:off x="4503269" y="972203"/>
            <a:ext cx="31072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</a:rPr>
              <a:t>Activity sheets:</a:t>
            </a:r>
          </a:p>
          <a:p>
            <a:endParaRPr lang="en-US" sz="16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</a:rPr>
              <a:t>Child can simply attempt the activity sheets on screen, trace, move finger around, identify etc.</a:t>
            </a:r>
          </a:p>
        </p:txBody>
      </p:sp>
    </p:spTree>
    <p:extLst>
      <p:ext uri="{BB962C8B-B14F-4D97-AF65-F5344CB8AC3E}">
        <p14:creationId xmlns:p14="http://schemas.microsoft.com/office/powerpoint/2010/main" val="32293126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FDCB213-596E-43BF-835A-85AE59E2B0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841" y="2290994"/>
            <a:ext cx="10515600" cy="821322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3600" b="1">
                <a:solidFill>
                  <a:srgbClr val="0071C0"/>
                </a:solidFill>
                <a:latin typeface="SesameWkshp Rg" charset="0"/>
              </a:rPr>
              <a:t>Thank yo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FBE040B-5BA1-4AE0-9A44-B3F1CB3E9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12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40E4AB2-0999-3741-9CEE-1603495AFF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6537" y="4095913"/>
            <a:ext cx="1208513" cy="671397"/>
          </a:xfrm>
          <a:prstGeom prst="rect">
            <a:avLst/>
          </a:prstGeom>
        </p:spPr>
      </p:pic>
      <p:pic>
        <p:nvPicPr>
          <p:cNvPr id="6" name="Picture 5" descr="A picture containing black, parked, people, traffic&#10;&#10;Description automatically generated">
            <a:extLst>
              <a:ext uri="{FF2B5EF4-FFF2-40B4-BE49-F238E27FC236}">
                <a16:creationId xmlns:a16="http://schemas.microsoft.com/office/drawing/2014/main" xmlns="" id="{E61D5980-317E-3344-B953-71884A57C98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022" y="4022321"/>
            <a:ext cx="874033" cy="790656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xmlns="" id="{3D8D96B2-1D37-704D-AC75-37C66955C9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770" y="3112316"/>
            <a:ext cx="10698459" cy="633368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IN" sz="1800" b="1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For further details, please email us at </a:t>
            </a:r>
            <a:br>
              <a:rPr lang="en-IN" sz="1800" b="1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</a:br>
            <a:r>
              <a:rPr lang="en-IN" sz="1800" b="1">
                <a:solidFill>
                  <a:srgbClr val="0071C0"/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amalhotra@unicef.org</a:t>
            </a:r>
            <a:r>
              <a:rPr lang="en-IN" sz="1800" b="1">
                <a:solidFill>
                  <a:srgbClr val="0071C0"/>
                </a:solidFill>
                <a:latin typeface="Calibri"/>
              </a:rPr>
              <a:t> </a:t>
            </a:r>
            <a:r>
              <a:rPr lang="en-IN" sz="1800" b="1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and </a:t>
            </a:r>
            <a:r>
              <a:rPr lang="en-IN" sz="1800" b="1">
                <a:solidFill>
                  <a:srgbClr val="0071C0"/>
                </a:solidFill>
                <a:latin typeface="Calibri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hobha.kapoor@sesame.org</a:t>
            </a:r>
            <a:r>
              <a:rPr lang="en-IN" sz="1800" b="1">
                <a:solidFill>
                  <a:srgbClr val="0071C0"/>
                </a:solidFill>
                <a:latin typeface="Calibri"/>
              </a:rPr>
              <a:t> </a:t>
            </a:r>
            <a:endParaRPr lang="en-US" sz="1800" b="1">
              <a:solidFill>
                <a:srgbClr val="0071C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451185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xmlns="" id="{43CF7A53-DFD0-F547-B717-F0381F30C7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3206" y="0"/>
            <a:ext cx="4846320" cy="6858000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9" name="Picture 8" descr="A screenshot of a cell phone&#10;&#10;Description automatically generated">
            <a:extLst>
              <a:ext uri="{FF2B5EF4-FFF2-40B4-BE49-F238E27FC236}">
                <a16:creationId xmlns:a16="http://schemas.microsoft.com/office/drawing/2014/main" xmlns="" id="{17A1ABB8-E59F-CF4B-A648-65547078E6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3829" y="0"/>
            <a:ext cx="4858171" cy="6858000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xmlns="" id="{68E4F0D2-298D-5B45-9D2B-F41F1509D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531" y="2587041"/>
            <a:ext cx="1945371" cy="1310032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IN" sz="2800" b="1">
                <a:solidFill>
                  <a:srgbClr val="0070C0"/>
                </a:solidFill>
                <a:latin typeface="Calibri"/>
              </a:rPr>
              <a:t>The </a:t>
            </a:r>
            <a:br>
              <a:rPr lang="en-IN" sz="2800" b="1">
                <a:solidFill>
                  <a:srgbClr val="0070C0"/>
                </a:solidFill>
                <a:latin typeface="Calibri"/>
              </a:rPr>
            </a:br>
            <a:r>
              <a:rPr lang="en-IN" sz="2800" b="1">
                <a:solidFill>
                  <a:srgbClr val="0070C0"/>
                </a:solidFill>
                <a:latin typeface="Calibri"/>
              </a:rPr>
              <a:t>partnership</a:t>
            </a:r>
            <a:endParaRPr lang="en-US" sz="2800" b="1">
              <a:solidFill>
                <a:srgbClr val="0070C0"/>
              </a:solidFill>
              <a:latin typeface="Calibri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E1430E85-27B9-B943-A21E-8E2339F71F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532" y="6129323"/>
            <a:ext cx="862548" cy="479194"/>
          </a:xfrm>
          <a:prstGeom prst="rect">
            <a:avLst/>
          </a:prstGeom>
        </p:spPr>
      </p:pic>
      <p:pic>
        <p:nvPicPr>
          <p:cNvPr id="26" name="Picture 25" descr="A picture containing black, parked, people, traffic&#10;&#10;Description automatically generated">
            <a:extLst>
              <a:ext uri="{FF2B5EF4-FFF2-40B4-BE49-F238E27FC236}">
                <a16:creationId xmlns:a16="http://schemas.microsoft.com/office/drawing/2014/main" xmlns="" id="{3AEAA4D4-8EBC-BC49-A226-6C266F5AD5C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133" y="6028014"/>
            <a:ext cx="742199" cy="67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691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ECD009D-5FBC-2A44-8B2E-22FE0AC69F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140" y="110723"/>
            <a:ext cx="10748142" cy="806852"/>
          </a:xfrm>
        </p:spPr>
        <p:txBody>
          <a:bodyPr>
            <a:normAutofit/>
          </a:bodyPr>
          <a:lstStyle/>
          <a:p>
            <a:r>
              <a:rPr lang="en-US" sz="3600" b="1">
                <a:solidFill>
                  <a:srgbClr val="0070C0"/>
                </a:solidFill>
                <a:latin typeface="Calibri"/>
              </a:rPr>
              <a:t>Partner Strength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46DFE52-D64E-CE4D-986E-30D0414F2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3</a:t>
            </a:fld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271DA3BD-9D4E-A943-832E-F6C13865AB4E}"/>
              </a:ext>
            </a:extLst>
          </p:cNvPr>
          <p:cNvGrpSpPr/>
          <p:nvPr/>
        </p:nvGrpSpPr>
        <p:grpSpPr>
          <a:xfrm>
            <a:off x="1337941" y="682214"/>
            <a:ext cx="9297021" cy="5988081"/>
            <a:chOff x="1383966" y="682214"/>
            <a:chExt cx="9204971" cy="5988081"/>
          </a:xfrm>
        </p:grpSpPr>
        <p:pic>
          <p:nvPicPr>
            <p:cNvPr id="12" name="Picture 11" descr="A picture containing wearing, table, sitting, hand&#10;&#10;Description automatically generated">
              <a:extLst>
                <a:ext uri="{FF2B5EF4-FFF2-40B4-BE49-F238E27FC236}">
                  <a16:creationId xmlns:a16="http://schemas.microsoft.com/office/drawing/2014/main" xmlns="" id="{3682204F-B219-4E40-B8E0-82646C242F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450507">
              <a:off x="7446007" y="682214"/>
              <a:ext cx="2329185" cy="1921578"/>
            </a:xfrm>
            <a:prstGeom prst="rect">
              <a:avLst/>
            </a:prstGeom>
          </p:spPr>
        </p:pic>
        <p:graphicFrame>
          <p:nvGraphicFramePr>
            <p:cNvPr id="6" name="Diagram 5">
              <a:extLst>
                <a:ext uri="{FF2B5EF4-FFF2-40B4-BE49-F238E27FC236}">
                  <a16:creationId xmlns:a16="http://schemas.microsoft.com/office/drawing/2014/main" xmlns="" id="{09484779-D7B4-4248-A92D-FD0321A5B1C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376360412"/>
                </p:ext>
              </p:extLst>
            </p:nvPr>
          </p:nvGraphicFramePr>
          <p:xfrm>
            <a:off x="2460937" y="1251628"/>
            <a:ext cx="8128000" cy="54186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xmlns="" id="{02EAC650-1897-DC44-951D-F6A95888A6C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383966" y="1860070"/>
              <a:ext cx="1076971" cy="598317"/>
            </a:xfrm>
            <a:prstGeom prst="rect">
              <a:avLst/>
            </a:prstGeom>
          </p:spPr>
        </p:pic>
        <p:pic>
          <p:nvPicPr>
            <p:cNvPr id="9" name="Picture 8" descr="A picture containing black, parked, people, traffic&#10;&#10;Description automatically generated">
              <a:extLst>
                <a:ext uri="{FF2B5EF4-FFF2-40B4-BE49-F238E27FC236}">
                  <a16:creationId xmlns:a16="http://schemas.microsoft.com/office/drawing/2014/main" xmlns="" id="{55372D75-4DF9-114E-8812-5AAB1FD1A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6483" y="5202946"/>
              <a:ext cx="891937" cy="8068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02369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726FD260-E415-4DF7-94DC-E67FE9D94E73}"/>
              </a:ext>
            </a:extLst>
          </p:cNvPr>
          <p:cNvSpPr/>
          <p:nvPr/>
        </p:nvSpPr>
        <p:spPr>
          <a:xfrm>
            <a:off x="1" y="16101"/>
            <a:ext cx="4269576" cy="75523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83F2C95D-423F-1D49-988B-3E8E0B69EAE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9036" y="16101"/>
            <a:ext cx="1525304" cy="257577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41E02DC-2056-694B-AEE8-5AF89F33C3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34650" y="6356350"/>
            <a:ext cx="81915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619B4EA-8913-4F8E-89F6-384B51B902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39BEB102-BD30-1546-9A47-5B8A92F1DE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506" y="5887780"/>
            <a:ext cx="1271067" cy="706148"/>
          </a:xfrm>
          <a:prstGeom prst="rect">
            <a:avLst/>
          </a:prstGeom>
        </p:spPr>
      </p:pic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xmlns="" id="{9A70BECA-9E79-7342-8EB2-F2B2A20A1B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3441536"/>
              </p:ext>
            </p:extLst>
          </p:nvPr>
        </p:nvGraphicFramePr>
        <p:xfrm>
          <a:off x="4505085" y="1349433"/>
          <a:ext cx="6848715" cy="45175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xmlns="" id="{C392EA16-BA2F-6344-B805-3C45997B324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787" y="5791510"/>
            <a:ext cx="1008788" cy="912555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xmlns="" id="{2BE2AB2D-E23E-4B48-BE55-BEAB25E235AA}"/>
              </a:ext>
            </a:extLst>
          </p:cNvPr>
          <p:cNvSpPr txBox="1">
            <a:spLocks/>
          </p:cNvSpPr>
          <p:nvPr/>
        </p:nvSpPr>
        <p:spPr>
          <a:xfrm>
            <a:off x="479807" y="511283"/>
            <a:ext cx="3395120" cy="56132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ressing what matters the most</a:t>
            </a:r>
          </a:p>
        </p:txBody>
      </p:sp>
    </p:spTree>
    <p:extLst>
      <p:ext uri="{BB962C8B-B14F-4D97-AF65-F5344CB8AC3E}">
        <p14:creationId xmlns:p14="http://schemas.microsoft.com/office/powerpoint/2010/main" val="31934839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616E500-B8B4-4236-9BF1-743ED793C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58" y="166699"/>
            <a:ext cx="6014842" cy="907357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IN" sz="3200" b="1">
                <a:solidFill>
                  <a:srgbClr val="0070C0"/>
                </a:solidFill>
                <a:latin typeface="Calibri"/>
              </a:rPr>
              <a:t>Joint effort, some results</a:t>
            </a:r>
            <a:endParaRPr lang="en-US" sz="3200" b="1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153051B-2923-4941-9F01-FD5A7FEC6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068B-BFC1-5843-814D-F3B85E8801EF}" type="slidenum">
              <a:rPr lang="en-US" smtClean="0"/>
              <a:t>5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0D35F595-72DC-514F-A4E2-E6F9BB14AC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33" y="1253705"/>
            <a:ext cx="5932190" cy="5569785"/>
          </a:xfrm>
        </p:spPr>
        <p:txBody>
          <a:bodyPr>
            <a:noAutofit/>
          </a:bodyPr>
          <a:lstStyle/>
          <a:p>
            <a:pPr marL="230188" indent="-230188">
              <a:tabLst>
                <a:tab pos="127000" algn="l"/>
              </a:tabLst>
            </a:pPr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</a:rPr>
              <a:t>PAN India: DD National</a:t>
            </a:r>
          </a:p>
          <a:p>
            <a:pPr marL="230188" indent="-230188">
              <a:tabLst>
                <a:tab pos="127000" algn="l"/>
              </a:tabLst>
            </a:pPr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</a:rPr>
              <a:t>Uttar Pradesh: DD Uttar Pradesh, </a:t>
            </a:r>
            <a:r>
              <a:rPr lang="en-US" sz="240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khsha</a:t>
            </a:r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</a:rPr>
              <a:t> app, 800+ WhatsApp groups</a:t>
            </a:r>
          </a:p>
          <a:p>
            <a:pPr marL="230188" indent="-230188">
              <a:tabLst>
                <a:tab pos="127000" algn="l"/>
              </a:tabLst>
            </a:pPr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</a:rPr>
              <a:t>Madhya Pradesh: DD Madhya Pradesh, Local cable network</a:t>
            </a:r>
          </a:p>
          <a:p>
            <a:pPr marL="230188" indent="-230188">
              <a:tabLst>
                <a:tab pos="127000" algn="l"/>
              </a:tabLst>
            </a:pPr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</a:rPr>
              <a:t>Maharashtra: DD Sahyadri, Diksha App, </a:t>
            </a:r>
          </a:p>
          <a:p>
            <a:pPr marL="230188" indent="-230188">
              <a:tabLst>
                <a:tab pos="127000" algn="l"/>
              </a:tabLst>
            </a:pPr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</a:rPr>
              <a:t>Bihar: DD Bihar</a:t>
            </a:r>
          </a:p>
          <a:p>
            <a:pPr marL="230188" indent="-230188">
              <a:tabLst>
                <a:tab pos="127000" algn="l"/>
              </a:tabLst>
            </a:pPr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</a:rPr>
              <a:t>Jharkhand: DD Jharkhand</a:t>
            </a:r>
          </a:p>
          <a:p>
            <a:pPr marL="230188" indent="-230188">
              <a:tabLst>
                <a:tab pos="127000" algn="l"/>
              </a:tabLst>
            </a:pPr>
            <a:r>
              <a:rPr lang="en-US" sz="2400">
                <a:solidFill>
                  <a:schemeClr val="tx1">
                    <a:lumMod val="75000"/>
                    <a:lumOff val="25000"/>
                  </a:schemeClr>
                </a:solidFill>
              </a:rPr>
              <a:t>Jammu &amp; Kashmir: AIR Srinagar </a:t>
            </a:r>
          </a:p>
          <a:p>
            <a:pPr marL="112713" indent="-112713"/>
            <a:endParaRPr lang="en-US" sz="24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12713" indent="-112713"/>
            <a:endParaRPr lang="en-US" sz="24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0" name="Picture 9" descr="A group of people on a sidewalk&#10;&#10;Description automatically generated">
            <a:extLst>
              <a:ext uri="{FF2B5EF4-FFF2-40B4-BE49-F238E27FC236}">
                <a16:creationId xmlns:a16="http://schemas.microsoft.com/office/drawing/2014/main" xmlns="" id="{BAF6C6AC-6045-5347-A42F-49C59F8E38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228248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CB36C77-003A-F54A-889C-4A8C92ECB6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532" y="6129323"/>
            <a:ext cx="862548" cy="479194"/>
          </a:xfrm>
          <a:prstGeom prst="rect">
            <a:avLst/>
          </a:prstGeom>
        </p:spPr>
      </p:pic>
      <p:pic>
        <p:nvPicPr>
          <p:cNvPr id="13" name="Picture 12" descr="A picture containing black, parked, people, traffic&#10;&#10;Description automatically generated">
            <a:extLst>
              <a:ext uri="{FF2B5EF4-FFF2-40B4-BE49-F238E27FC236}">
                <a16:creationId xmlns:a16="http://schemas.microsoft.com/office/drawing/2014/main" xmlns="" id="{88ABE388-FA13-7A44-B90C-4FFE48EA77D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133" y="6028014"/>
            <a:ext cx="742199" cy="67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9809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C725471-EEBF-49EE-BF37-8997F6F82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6526"/>
            <a:ext cx="10515600" cy="806904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ts val="0"/>
              </a:spcBef>
            </a:pPr>
            <a:r>
              <a:rPr lang="en-US" sz="3200" b="1">
                <a:solidFill>
                  <a:srgbClr val="0070C0"/>
                </a:solidFill>
                <a:latin typeface="Calibri"/>
              </a:rPr>
              <a:t>CONTENT: </a:t>
            </a:r>
            <a:r>
              <a:rPr lang="en-US" sz="2800" b="1">
                <a:solidFill>
                  <a:srgbClr val="0070C0"/>
                </a:solidFill>
                <a:latin typeface="Calibri"/>
              </a:rPr>
              <a:t>Varied formats, all audience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xmlns="" id="{25E86401-EFCD-4FFD-82C9-D077FE90763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08225364"/>
              </p:ext>
            </p:extLst>
          </p:nvPr>
        </p:nvGraphicFramePr>
        <p:xfrm>
          <a:off x="530942" y="808237"/>
          <a:ext cx="11149780" cy="58654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15ABA19-892E-4D36-91BA-786C8DF6A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19B4EA-8913-4F8E-89F6-384B51B902D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6404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616E500-B8B4-4236-9BF1-743ED793C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58" y="166700"/>
            <a:ext cx="5769874" cy="633368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IN" sz="2800" b="1">
                <a:solidFill>
                  <a:srgbClr val="0070C0"/>
                </a:solidFill>
                <a:latin typeface="Calibri"/>
              </a:rPr>
              <a:t>Content examples</a:t>
            </a:r>
            <a:endParaRPr lang="en-US" sz="2800" b="1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153051B-2923-4941-9F01-FD5A7FEC6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068B-BFC1-5843-814D-F3B85E8801EF}" type="slidenum">
              <a:rPr lang="en-US" smtClean="0"/>
              <a:t>7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CB36C77-003A-F54A-889C-4A8C92ECB6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532" y="6129323"/>
            <a:ext cx="862548" cy="479194"/>
          </a:xfrm>
          <a:prstGeom prst="rect">
            <a:avLst/>
          </a:prstGeom>
        </p:spPr>
      </p:pic>
      <p:pic>
        <p:nvPicPr>
          <p:cNvPr id="13" name="Picture 12" descr="A picture containing black, parked, people, traffic&#10;&#10;Description automatically generated">
            <a:extLst>
              <a:ext uri="{FF2B5EF4-FFF2-40B4-BE49-F238E27FC236}">
                <a16:creationId xmlns:a16="http://schemas.microsoft.com/office/drawing/2014/main" xmlns="" id="{88ABE388-FA13-7A44-B90C-4FFE48EA77D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133" y="6028014"/>
            <a:ext cx="742199" cy="671398"/>
          </a:xfrm>
          <a:prstGeom prst="rect">
            <a:avLst/>
          </a:prstGeom>
        </p:spPr>
      </p:pic>
      <p:pic>
        <p:nvPicPr>
          <p:cNvPr id="4" name="PSA_3_High_res" descr="PSA_3_High_res">
            <a:hlinkClick r:id="" action="ppaction://media"/>
            <a:extLst>
              <a:ext uri="{FF2B5EF4-FFF2-40B4-BE49-F238E27FC236}">
                <a16:creationId xmlns:a16="http://schemas.microsoft.com/office/drawing/2014/main" xmlns="" id="{7389F5B9-ADB2-3C43-B53C-12FC285BAD3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265515" y="963858"/>
            <a:ext cx="8345085" cy="479905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ADBAAA7-829C-EA47-9F7A-C83C33E13A39}"/>
              </a:ext>
            </a:extLst>
          </p:cNvPr>
          <p:cNvSpPr/>
          <p:nvPr/>
        </p:nvSpPr>
        <p:spPr>
          <a:xfrm>
            <a:off x="8911771" y="1943978"/>
            <a:ext cx="3014714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For children: </a:t>
            </a:r>
          </a:p>
          <a:p>
            <a:pPr algn="just"/>
            <a:endParaRPr lang="en-US" sz="20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/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Grover is guided about sneezing etiquette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Feel that you’re about to sneeze-move aside from other peopl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bring your elbow towards your fac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cough/sneeze in bended elbow</a:t>
            </a:r>
          </a:p>
        </p:txBody>
      </p:sp>
    </p:spTree>
    <p:extLst>
      <p:ext uri="{BB962C8B-B14F-4D97-AF65-F5344CB8AC3E}">
        <p14:creationId xmlns:p14="http://schemas.microsoft.com/office/powerpoint/2010/main" val="2893929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12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616E500-B8B4-4236-9BF1-743ED793C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35920"/>
            <a:ext cx="5769874" cy="633368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IN" sz="2400" b="1">
                <a:solidFill>
                  <a:srgbClr val="0070C0"/>
                </a:solidFill>
                <a:latin typeface="Calibri"/>
              </a:rPr>
              <a:t>Content examples:</a:t>
            </a:r>
            <a:endParaRPr lang="en-US" sz="2400" b="1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153051B-2923-4941-9F01-FD5A7FEC6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068B-BFC1-5843-814D-F3B85E8801EF}" type="slidenum">
              <a:rPr lang="en-US" smtClean="0"/>
              <a:t>8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CB36C77-003A-F54A-889C-4A8C92ECB6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532" y="6258113"/>
            <a:ext cx="862548" cy="479194"/>
          </a:xfrm>
          <a:prstGeom prst="rect">
            <a:avLst/>
          </a:prstGeom>
        </p:spPr>
      </p:pic>
      <p:pic>
        <p:nvPicPr>
          <p:cNvPr id="13" name="Picture 12" descr="A picture containing black, parked, people, traffic&#10;&#10;Description automatically generated">
            <a:extLst>
              <a:ext uri="{FF2B5EF4-FFF2-40B4-BE49-F238E27FC236}">
                <a16:creationId xmlns:a16="http://schemas.microsoft.com/office/drawing/2014/main" xmlns="" id="{88ABE388-FA13-7A44-B90C-4FFE48EA77D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133" y="6156804"/>
            <a:ext cx="742199" cy="67139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ADBAAA7-829C-EA47-9F7A-C83C33E13A39}"/>
              </a:ext>
            </a:extLst>
          </p:cNvPr>
          <p:cNvSpPr/>
          <p:nvPr/>
        </p:nvSpPr>
        <p:spPr>
          <a:xfrm>
            <a:off x="8293854" y="473526"/>
            <a:ext cx="3387424" cy="584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</a:rPr>
              <a:t>Audio PSA: What is social distancing? How can we have routines?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39A24E53-13F6-9C41-903A-051E8EF569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6777" y="855174"/>
            <a:ext cx="3734678" cy="5285041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pic>
        <p:nvPicPr>
          <p:cNvPr id="10" name="Picture 9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xmlns="" id="{C211F268-3FE6-0146-9397-99ECA0E2B3F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647" y="811018"/>
            <a:ext cx="3807077" cy="5285041"/>
          </a:xfrm>
          <a:prstGeom prst="rect">
            <a:avLst/>
          </a:prstGeom>
          <a:ln>
            <a:solidFill>
              <a:schemeClr val="bg2">
                <a:lumMod val="90000"/>
              </a:schemeClr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2AE8AC6B-2634-9140-B09D-AF917508499D}"/>
              </a:ext>
            </a:extLst>
          </p:cNvPr>
          <p:cNvSpPr/>
          <p:nvPr/>
        </p:nvSpPr>
        <p:spPr>
          <a:xfrm>
            <a:off x="471327" y="473527"/>
            <a:ext cx="3850397" cy="584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</a:rPr>
              <a:t>Article for parents: support children during COVID-19 crisi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B9C73359-67B2-6F4A-9B96-2C665A4CC4D3}"/>
              </a:ext>
            </a:extLst>
          </p:cNvPr>
          <p:cNvSpPr/>
          <p:nvPr/>
        </p:nvSpPr>
        <p:spPr>
          <a:xfrm>
            <a:off x="4414378" y="473527"/>
            <a:ext cx="3807077" cy="584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intables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</a:rPr>
              <a:t> for children- we (children) are being taken care of</a:t>
            </a:r>
          </a:p>
        </p:txBody>
      </p:sp>
      <p:pic>
        <p:nvPicPr>
          <p:cNvPr id="14" name="PSA 4_Corona_Se_Na_Daro_Na" descr="PSA 4_Corona_Se_Na_Daro_Na">
            <a:hlinkClick r:id="" action="ppaction://media"/>
            <a:extLst>
              <a:ext uri="{FF2B5EF4-FFF2-40B4-BE49-F238E27FC236}">
                <a16:creationId xmlns:a16="http://schemas.microsoft.com/office/drawing/2014/main" xmlns="" id="{33586B72-CC31-024C-8C19-D177F039183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9517133" y="1384122"/>
            <a:ext cx="812800" cy="812800"/>
          </a:xfrm>
          <a:prstGeom prst="rect">
            <a:avLst/>
          </a:prstGeom>
          <a:ln w="228600" cap="sq" cmpd="thickThin">
            <a:solidFill>
              <a:schemeClr val="bg2">
                <a:lumMod val="90000"/>
              </a:schemeClr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2023931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7103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616E500-B8B4-4236-9BF1-743ED793C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158" y="166700"/>
            <a:ext cx="5769874" cy="633368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IN" sz="2800" b="1">
                <a:solidFill>
                  <a:srgbClr val="0070C0"/>
                </a:solidFill>
                <a:latin typeface="Calibri"/>
              </a:rPr>
              <a:t>Content examples:</a:t>
            </a:r>
            <a:endParaRPr lang="en-US" sz="2800" b="1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153051B-2923-4941-9F01-FD5A7FEC6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068B-BFC1-5843-814D-F3B85E8801EF}" type="slidenum">
              <a:rPr lang="en-US" smtClean="0"/>
              <a:t>9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BCB36C77-003A-F54A-889C-4A8C92ECB6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532" y="6129323"/>
            <a:ext cx="862548" cy="479194"/>
          </a:xfrm>
          <a:prstGeom prst="rect">
            <a:avLst/>
          </a:prstGeom>
        </p:spPr>
      </p:pic>
      <p:pic>
        <p:nvPicPr>
          <p:cNvPr id="13" name="Picture 12" descr="A picture containing black, parked, people, traffic&#10;&#10;Description automatically generated">
            <a:extLst>
              <a:ext uri="{FF2B5EF4-FFF2-40B4-BE49-F238E27FC236}">
                <a16:creationId xmlns:a16="http://schemas.microsoft.com/office/drawing/2014/main" xmlns="" id="{88ABE388-FA13-7A44-B90C-4FFE48EA77D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133" y="6028014"/>
            <a:ext cx="742199" cy="67139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ADBAAA7-829C-EA47-9F7A-C83C33E13A39}"/>
              </a:ext>
            </a:extLst>
          </p:cNvPr>
          <p:cNvSpPr/>
          <p:nvPr/>
        </p:nvSpPr>
        <p:spPr>
          <a:xfrm>
            <a:off x="8630911" y="1899307"/>
            <a:ext cx="324755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For parents/caregivers</a:t>
            </a:r>
          </a:p>
          <a:p>
            <a:pPr algn="just"/>
            <a:endParaRPr lang="en-US" sz="200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/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Louie’s message to parents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It is okay to feel stressed and worked up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Take out time for yourself as you juggle other roles and responsibilities and remember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Taking care of yourself is the first step towards taking care of others</a:t>
            </a:r>
          </a:p>
        </p:txBody>
      </p:sp>
      <p:pic>
        <p:nvPicPr>
          <p:cNvPr id="8" name="PSA_6_Parents_Low_res" descr="PSA_6_Parents_Low_res">
            <a:hlinkClick r:id="" action="ppaction://media"/>
            <a:extLst>
              <a:ext uri="{FF2B5EF4-FFF2-40B4-BE49-F238E27FC236}">
                <a16:creationId xmlns:a16="http://schemas.microsoft.com/office/drawing/2014/main" xmlns="" id="{AA9DD3FE-56B9-5548-8B15-EB9537E409A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313532" y="990791"/>
            <a:ext cx="8152326" cy="458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383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117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_WJHyS3ldGsiVaYCvn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4_201210 SST Cut Paper Template_draft4">
  <a:themeElements>
    <a:clrScheme name="Sesame Street Cut Paper Template">
      <a:dk1>
        <a:srgbClr val="808080"/>
      </a:dk1>
      <a:lt1>
        <a:sysClr val="window" lastClr="FFFFFF"/>
      </a:lt1>
      <a:dk2>
        <a:srgbClr val="000000"/>
      </a:dk2>
      <a:lt2>
        <a:srgbClr val="EEECE1"/>
      </a:lt2>
      <a:accent1>
        <a:srgbClr val="84B819"/>
      </a:accent1>
      <a:accent2>
        <a:srgbClr val="4BACC6"/>
      </a:accent2>
      <a:accent3>
        <a:srgbClr val="0070C0"/>
      </a:accent3>
      <a:accent4>
        <a:srgbClr val="E46C0A"/>
      </a:accent4>
      <a:accent5>
        <a:srgbClr val="990099"/>
      </a:accent5>
      <a:accent6>
        <a:srgbClr val="F79646"/>
      </a:accent6>
      <a:hlink>
        <a:srgbClr val="0000FF"/>
      </a:hlink>
      <a:folHlink>
        <a:srgbClr val="800080"/>
      </a:folHlink>
    </a:clrScheme>
    <a:fontScheme name="Sky">
      <a:majorFont>
        <a:latin typeface="Arial Rounded MT Bold"/>
        <a:ea typeface=""/>
        <a:cs typeface=""/>
        <a:font script="Jpan" typeface="ＭＳ Ｐゴシック"/>
        <a:font script="Hans" typeface="宋体"/>
        <a:font script="Hant" typeface="新細明體"/>
      </a:majorFont>
      <a:minorFont>
        <a:latin typeface="Arial Rounded MT Bold"/>
        <a:ea typeface=""/>
        <a:cs typeface=""/>
        <a:font script="Jpan" typeface="ＭＳ Ｐ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5E561066C7DD4E895B08232465173D" ma:contentTypeVersion="13" ma:contentTypeDescription="Create a new document." ma:contentTypeScope="" ma:versionID="e5cee377f80f6ddf011eeb1df2558a24">
  <xsd:schema xmlns:xsd="http://www.w3.org/2001/XMLSchema" xmlns:xs="http://www.w3.org/2001/XMLSchema" xmlns:p="http://schemas.microsoft.com/office/2006/metadata/properties" xmlns:ns3="c7e98ea0-960e-4f76-986b-36ce93057f24" xmlns:ns4="1fc2e1e2-d80a-41ad-bac5-64548aad216d" targetNamespace="http://schemas.microsoft.com/office/2006/metadata/properties" ma:root="true" ma:fieldsID="f0e97225443df49cc5fb1b6b16fe2d67" ns3:_="" ns4:_="">
    <xsd:import namespace="c7e98ea0-960e-4f76-986b-36ce93057f24"/>
    <xsd:import namespace="1fc2e1e2-d80a-41ad-bac5-64548aad216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ingHintHash" minOccurs="0"/>
                <xsd:element ref="ns3:SharedWithDetails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e98ea0-960e-4f76-986b-36ce93057f2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c2e1e2-d80a-41ad-bac5-64548aad21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BA18003-F97E-4826-97A0-75EF778E11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e98ea0-960e-4f76-986b-36ce93057f24"/>
    <ds:schemaRef ds:uri="1fc2e1e2-d80a-41ad-bac5-64548aad21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A5162D7-D5D6-4883-9934-F18CBA9F97A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BA539A0-BF5A-4786-9635-BE789598C3CB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1fc2e1e2-d80a-41ad-bac5-64548aad216d"/>
    <ds:schemaRef ds:uri="http://purl.org/dc/terms/"/>
    <ds:schemaRef ds:uri="http://schemas.openxmlformats.org/package/2006/metadata/core-properties"/>
    <ds:schemaRef ds:uri="c7e98ea0-960e-4f76-986b-36ce93057f24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356</Words>
  <Application>Microsoft Office PowerPoint</Application>
  <PresentationFormat>Widescreen</PresentationFormat>
  <Paragraphs>83</Paragraphs>
  <Slides>12</Slides>
  <Notes>6</Notes>
  <HiddenSlides>0</HiddenSlides>
  <MMClips>3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Arial Rounded MT Bold</vt:lpstr>
      <vt:lpstr>Calibri</vt:lpstr>
      <vt:lpstr>Calibri Light</vt:lpstr>
      <vt:lpstr>SesameWkshp Rg</vt:lpstr>
      <vt:lpstr>Office Theme</vt:lpstr>
      <vt:lpstr>34_201210 SST Cut Paper Template_draft4</vt:lpstr>
      <vt:lpstr>think-cell Slide</vt:lpstr>
      <vt:lpstr>PowerPoint Presentation</vt:lpstr>
      <vt:lpstr>The  partnership</vt:lpstr>
      <vt:lpstr>Partner Strengths</vt:lpstr>
      <vt:lpstr>PowerPoint Presentation</vt:lpstr>
      <vt:lpstr>Joint effort, some results</vt:lpstr>
      <vt:lpstr>CONTENT: Varied formats, all audiences</vt:lpstr>
      <vt:lpstr>Content examples</vt:lpstr>
      <vt:lpstr>Content examples:</vt:lpstr>
      <vt:lpstr>Content examples:</vt:lpstr>
      <vt:lpstr>Content examples:</vt:lpstr>
      <vt:lpstr>Content examples:</vt:lpstr>
      <vt:lpstr>For further details, please email us at  amalhotra@unicef.org and shobha.kapoor@sesame.org 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obha kapoor</dc:creator>
  <cp:lastModifiedBy>Bear</cp:lastModifiedBy>
  <cp:revision>2</cp:revision>
  <dcterms:created xsi:type="dcterms:W3CDTF">2020-05-21T16:02:38Z</dcterms:created>
  <dcterms:modified xsi:type="dcterms:W3CDTF">2020-07-02T04:47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5E561066C7DD4E895B08232465173D</vt:lpwstr>
  </property>
</Properties>
</file>